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2.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1.xml" ContentType="application/vnd.openxmlformats-officedocument.presentationml.slide+xml"/>
  <Override PartName="/ppt/slides/slide10.xml" ContentType="application/vnd.openxmlformats-officedocument.presentationml.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1.xml" ContentType="application/vnd.openxmlformats-officedocument.presentationml.notesSlide+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7.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8.xml" ContentType="application/vnd.openxmlformats-officedocument.presentationml.slideLayout+xml"/>
  <Override PartName="/ppt/slideLayouts/slideLayout86.xml" ContentType="application/vnd.openxmlformats-officedocument.presentationml.slideLayout+xml"/>
  <Override PartName="/ppt/slideLayouts/slideLayout90.xml" ContentType="application/vnd.openxmlformats-officedocument.presentationml.slideLayout+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77.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4.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73.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89.xml" ContentType="application/vnd.openxmlformats-officedocument.presentationml.slideLayout+xml"/>
  <Override PartName="/ppt/slideLayouts/slideLayout136.xml" ContentType="application/vnd.openxmlformats-officedocument.presentationml.slideLayout+xml"/>
  <Override PartName="/ppt/slideLayouts/slideLayout134.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35.xml" ContentType="application/vnd.openxmlformats-officedocument.presentationml.slideLayout+xml"/>
  <Override PartName="/ppt/slideLayouts/slideLayout113.xml" ContentType="application/vnd.openxmlformats-officedocument.presentationml.slideLayout+xml"/>
  <Override PartName="/ppt/slideLayouts/slideLayout115.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4.xml" ContentType="application/vnd.openxmlformats-officedocument.presentationml.slideLayout+xml"/>
  <Override PartName="/ppt/slideLayouts/slideLayout121.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4.xml" ContentType="application/vnd.openxmlformats-officedocument.presentationml.tags+xml"/>
  <Override PartName="/ppt/tags/tag122.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7.xml" ContentType="application/vnd.openxmlformats-officedocument.presentationml.tags+xml"/>
  <Override PartName="/ppt/tags/tag105.xml" ContentType="application/vnd.openxmlformats-officedocument.presentationml.tags+xml"/>
  <Override PartName="/ppt/tags/tag114.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7.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93.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8.xml" ContentType="application/vnd.openxmlformats-officedocument.presentationml.tags+xml"/>
  <Override PartName="/ppt/tags/tag82.xml" ContentType="application/vnd.openxmlformats-officedocument.presentationml.tags+xml"/>
  <Override PartName="/ppt/tags/tag91.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9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62.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284.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62.xml" ContentType="application/vnd.openxmlformats-officedocument.presentationml.tags+xml"/>
  <Override PartName="/ppt/tags/tag361.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386.xml" ContentType="application/vnd.openxmlformats-officedocument.presentationml.tags+xml"/>
  <Override PartName="/ppt/tags/tag1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13.xml" ContentType="application/vnd.openxmlformats-officedocument.presentationml.tags+xml"/>
  <Override PartName="/ppt/tags/tag312.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38.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18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5"/>
  </p:notesMasterIdLst>
  <p:sldIdLst>
    <p:sldId id="413" r:id="rId4"/>
    <p:sldId id="414" r:id="rId5"/>
    <p:sldId id="422" r:id="rId6"/>
    <p:sldId id="416" r:id="rId7"/>
    <p:sldId id="423" r:id="rId8"/>
    <p:sldId id="424" r:id="rId9"/>
    <p:sldId id="412" r:id="rId10"/>
    <p:sldId id="302" r:id="rId11"/>
    <p:sldId id="419" r:id="rId12"/>
    <p:sldId id="425" r:id="rId13"/>
    <p:sldId id="418" r:id="rId14"/>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varScale="1">
        <p:scale>
          <a:sx n="95" d="100"/>
          <a:sy n="95" d="100"/>
        </p:scale>
        <p:origin x="-90" y="-162"/>
      </p:cViewPr>
      <p:guideLst>
        <p:guide orient="horz" pos="4256"/>
        <p:guide orient="horz" pos="251"/>
        <p:guide orient="horz" pos="1157"/>
        <p:guide orient="horz" pos="4057"/>
        <p:guide orient="horz" pos="3514"/>
        <p:guide orient="horz" pos="445"/>
        <p:guide orient="horz" pos="4142"/>
        <p:guide orient="horz" pos="3412"/>
        <p:guide orient="horz" pos="1699"/>
        <p:guide pos="232"/>
        <p:guide pos="2985"/>
        <p:guide pos="1622"/>
        <p:guide pos="1292"/>
        <p:guide pos="439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customXml" Target="../customXml/item2.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c:formatCode>
                <c:ptCount val="1246"/>
                <c:pt idx="0">
                  <c:v>40148</c:v>
                </c:pt>
                <c:pt idx="1">
                  <c:v>40149</c:v>
                </c:pt>
                <c:pt idx="2">
                  <c:v>40150</c:v>
                </c:pt>
                <c:pt idx="3">
                  <c:v>40151</c:v>
                </c:pt>
                <c:pt idx="4">
                  <c:v>40154</c:v>
                </c:pt>
                <c:pt idx="5">
                  <c:v>40155</c:v>
                </c:pt>
                <c:pt idx="6">
                  <c:v>40156</c:v>
                </c:pt>
                <c:pt idx="7">
                  <c:v>40157</c:v>
                </c:pt>
                <c:pt idx="8">
                  <c:v>40158</c:v>
                </c:pt>
                <c:pt idx="9">
                  <c:v>40161</c:v>
                </c:pt>
                <c:pt idx="10">
                  <c:v>40162</c:v>
                </c:pt>
                <c:pt idx="11">
                  <c:v>40163</c:v>
                </c:pt>
                <c:pt idx="12">
                  <c:v>40164</c:v>
                </c:pt>
                <c:pt idx="13">
                  <c:v>40165</c:v>
                </c:pt>
                <c:pt idx="14">
                  <c:v>40168</c:v>
                </c:pt>
                <c:pt idx="15">
                  <c:v>40169</c:v>
                </c:pt>
                <c:pt idx="16">
                  <c:v>40170</c:v>
                </c:pt>
                <c:pt idx="17">
                  <c:v>40171</c:v>
                </c:pt>
                <c:pt idx="18">
                  <c:v>40175</c:v>
                </c:pt>
                <c:pt idx="19">
                  <c:v>40176</c:v>
                </c:pt>
                <c:pt idx="20">
                  <c:v>40177</c:v>
                </c:pt>
                <c:pt idx="21">
                  <c:v>40178</c:v>
                </c:pt>
                <c:pt idx="22">
                  <c:v>40182</c:v>
                </c:pt>
                <c:pt idx="23">
                  <c:v>40183</c:v>
                </c:pt>
                <c:pt idx="24">
                  <c:v>40184</c:v>
                </c:pt>
                <c:pt idx="25">
                  <c:v>40185</c:v>
                </c:pt>
                <c:pt idx="26">
                  <c:v>40186</c:v>
                </c:pt>
                <c:pt idx="27">
                  <c:v>40189</c:v>
                </c:pt>
                <c:pt idx="28">
                  <c:v>40190</c:v>
                </c:pt>
                <c:pt idx="29">
                  <c:v>40191</c:v>
                </c:pt>
                <c:pt idx="30">
                  <c:v>40192</c:v>
                </c:pt>
                <c:pt idx="31">
                  <c:v>40193</c:v>
                </c:pt>
                <c:pt idx="32">
                  <c:v>40196</c:v>
                </c:pt>
                <c:pt idx="33">
                  <c:v>40197</c:v>
                </c:pt>
                <c:pt idx="34">
                  <c:v>40198</c:v>
                </c:pt>
                <c:pt idx="35">
                  <c:v>40199</c:v>
                </c:pt>
                <c:pt idx="36">
                  <c:v>40200</c:v>
                </c:pt>
                <c:pt idx="37">
                  <c:v>40203</c:v>
                </c:pt>
                <c:pt idx="38">
                  <c:v>40204</c:v>
                </c:pt>
                <c:pt idx="39">
                  <c:v>40205</c:v>
                </c:pt>
                <c:pt idx="40">
                  <c:v>40206</c:v>
                </c:pt>
                <c:pt idx="41">
                  <c:v>40207</c:v>
                </c:pt>
                <c:pt idx="42">
                  <c:v>40210</c:v>
                </c:pt>
                <c:pt idx="43">
                  <c:v>40211</c:v>
                </c:pt>
                <c:pt idx="44">
                  <c:v>40212</c:v>
                </c:pt>
                <c:pt idx="45">
                  <c:v>40213</c:v>
                </c:pt>
                <c:pt idx="46">
                  <c:v>40214</c:v>
                </c:pt>
                <c:pt idx="47">
                  <c:v>40217</c:v>
                </c:pt>
                <c:pt idx="48">
                  <c:v>40218</c:v>
                </c:pt>
                <c:pt idx="49">
                  <c:v>40219</c:v>
                </c:pt>
                <c:pt idx="50">
                  <c:v>40220</c:v>
                </c:pt>
                <c:pt idx="51">
                  <c:v>40221</c:v>
                </c:pt>
                <c:pt idx="52">
                  <c:v>40224</c:v>
                </c:pt>
                <c:pt idx="53">
                  <c:v>40225</c:v>
                </c:pt>
                <c:pt idx="54">
                  <c:v>40226</c:v>
                </c:pt>
                <c:pt idx="55">
                  <c:v>40227</c:v>
                </c:pt>
                <c:pt idx="56">
                  <c:v>40228</c:v>
                </c:pt>
                <c:pt idx="57">
                  <c:v>40231</c:v>
                </c:pt>
                <c:pt idx="58">
                  <c:v>40232</c:v>
                </c:pt>
                <c:pt idx="59">
                  <c:v>40233</c:v>
                </c:pt>
                <c:pt idx="60">
                  <c:v>40234</c:v>
                </c:pt>
                <c:pt idx="61">
                  <c:v>40235</c:v>
                </c:pt>
                <c:pt idx="62">
                  <c:v>40238</c:v>
                </c:pt>
                <c:pt idx="63">
                  <c:v>40239</c:v>
                </c:pt>
                <c:pt idx="64">
                  <c:v>40240</c:v>
                </c:pt>
                <c:pt idx="65">
                  <c:v>40241</c:v>
                </c:pt>
                <c:pt idx="66">
                  <c:v>40242</c:v>
                </c:pt>
                <c:pt idx="67">
                  <c:v>40245</c:v>
                </c:pt>
                <c:pt idx="68">
                  <c:v>40246</c:v>
                </c:pt>
                <c:pt idx="69">
                  <c:v>40247</c:v>
                </c:pt>
                <c:pt idx="70">
                  <c:v>40248</c:v>
                </c:pt>
                <c:pt idx="71">
                  <c:v>40249</c:v>
                </c:pt>
                <c:pt idx="72">
                  <c:v>40252</c:v>
                </c:pt>
                <c:pt idx="73">
                  <c:v>40253</c:v>
                </c:pt>
                <c:pt idx="74">
                  <c:v>40254</c:v>
                </c:pt>
                <c:pt idx="75">
                  <c:v>40255</c:v>
                </c:pt>
                <c:pt idx="76">
                  <c:v>40256</c:v>
                </c:pt>
                <c:pt idx="77">
                  <c:v>40259</c:v>
                </c:pt>
                <c:pt idx="78">
                  <c:v>40260</c:v>
                </c:pt>
                <c:pt idx="79">
                  <c:v>40261</c:v>
                </c:pt>
                <c:pt idx="80">
                  <c:v>40262</c:v>
                </c:pt>
                <c:pt idx="81">
                  <c:v>40263</c:v>
                </c:pt>
                <c:pt idx="82">
                  <c:v>40266</c:v>
                </c:pt>
                <c:pt idx="83">
                  <c:v>40267</c:v>
                </c:pt>
                <c:pt idx="84">
                  <c:v>40268</c:v>
                </c:pt>
                <c:pt idx="85">
                  <c:v>40269</c:v>
                </c:pt>
                <c:pt idx="86">
                  <c:v>40274</c:v>
                </c:pt>
                <c:pt idx="87">
                  <c:v>40275</c:v>
                </c:pt>
                <c:pt idx="88">
                  <c:v>40276</c:v>
                </c:pt>
                <c:pt idx="89">
                  <c:v>40277</c:v>
                </c:pt>
                <c:pt idx="90">
                  <c:v>40280</c:v>
                </c:pt>
                <c:pt idx="91">
                  <c:v>40281</c:v>
                </c:pt>
                <c:pt idx="92">
                  <c:v>40282</c:v>
                </c:pt>
                <c:pt idx="93">
                  <c:v>40283</c:v>
                </c:pt>
                <c:pt idx="94">
                  <c:v>40284</c:v>
                </c:pt>
                <c:pt idx="95">
                  <c:v>40287</c:v>
                </c:pt>
                <c:pt idx="96">
                  <c:v>40288</c:v>
                </c:pt>
                <c:pt idx="97">
                  <c:v>40289</c:v>
                </c:pt>
                <c:pt idx="98">
                  <c:v>40290</c:v>
                </c:pt>
                <c:pt idx="99">
                  <c:v>40291</c:v>
                </c:pt>
                <c:pt idx="100">
                  <c:v>40294</c:v>
                </c:pt>
                <c:pt idx="101">
                  <c:v>40295</c:v>
                </c:pt>
                <c:pt idx="102">
                  <c:v>40296</c:v>
                </c:pt>
                <c:pt idx="103">
                  <c:v>40297</c:v>
                </c:pt>
                <c:pt idx="104">
                  <c:v>40298</c:v>
                </c:pt>
                <c:pt idx="105">
                  <c:v>40301</c:v>
                </c:pt>
                <c:pt idx="106">
                  <c:v>40302</c:v>
                </c:pt>
                <c:pt idx="107">
                  <c:v>40303</c:v>
                </c:pt>
                <c:pt idx="108">
                  <c:v>40304</c:v>
                </c:pt>
                <c:pt idx="109">
                  <c:v>40305</c:v>
                </c:pt>
                <c:pt idx="110">
                  <c:v>40308</c:v>
                </c:pt>
                <c:pt idx="111">
                  <c:v>40309</c:v>
                </c:pt>
                <c:pt idx="112">
                  <c:v>40310</c:v>
                </c:pt>
                <c:pt idx="113">
                  <c:v>40311</c:v>
                </c:pt>
                <c:pt idx="114">
                  <c:v>40312</c:v>
                </c:pt>
                <c:pt idx="115">
                  <c:v>40315</c:v>
                </c:pt>
                <c:pt idx="116">
                  <c:v>40316</c:v>
                </c:pt>
                <c:pt idx="117">
                  <c:v>40317</c:v>
                </c:pt>
                <c:pt idx="118">
                  <c:v>40318</c:v>
                </c:pt>
                <c:pt idx="119">
                  <c:v>40319</c:v>
                </c:pt>
                <c:pt idx="120">
                  <c:v>40322</c:v>
                </c:pt>
                <c:pt idx="121">
                  <c:v>40323</c:v>
                </c:pt>
                <c:pt idx="122">
                  <c:v>40324</c:v>
                </c:pt>
                <c:pt idx="123">
                  <c:v>40325</c:v>
                </c:pt>
                <c:pt idx="124">
                  <c:v>40326</c:v>
                </c:pt>
                <c:pt idx="125">
                  <c:v>40329</c:v>
                </c:pt>
                <c:pt idx="126">
                  <c:v>40330</c:v>
                </c:pt>
                <c:pt idx="127">
                  <c:v>40331</c:v>
                </c:pt>
                <c:pt idx="128">
                  <c:v>40332</c:v>
                </c:pt>
                <c:pt idx="129">
                  <c:v>40333</c:v>
                </c:pt>
                <c:pt idx="130">
                  <c:v>40336</c:v>
                </c:pt>
                <c:pt idx="131">
                  <c:v>40337</c:v>
                </c:pt>
                <c:pt idx="132">
                  <c:v>40338</c:v>
                </c:pt>
                <c:pt idx="133">
                  <c:v>40339</c:v>
                </c:pt>
                <c:pt idx="134">
                  <c:v>40340</c:v>
                </c:pt>
                <c:pt idx="135">
                  <c:v>40343</c:v>
                </c:pt>
                <c:pt idx="136">
                  <c:v>40344</c:v>
                </c:pt>
                <c:pt idx="137">
                  <c:v>40345</c:v>
                </c:pt>
                <c:pt idx="138">
                  <c:v>40346</c:v>
                </c:pt>
                <c:pt idx="139">
                  <c:v>40347</c:v>
                </c:pt>
                <c:pt idx="140">
                  <c:v>40350</c:v>
                </c:pt>
                <c:pt idx="141">
                  <c:v>40351</c:v>
                </c:pt>
                <c:pt idx="142">
                  <c:v>40352</c:v>
                </c:pt>
                <c:pt idx="143">
                  <c:v>40353</c:v>
                </c:pt>
                <c:pt idx="144">
                  <c:v>40354</c:v>
                </c:pt>
                <c:pt idx="145">
                  <c:v>40357</c:v>
                </c:pt>
                <c:pt idx="146">
                  <c:v>40358</c:v>
                </c:pt>
                <c:pt idx="147">
                  <c:v>40359</c:v>
                </c:pt>
                <c:pt idx="148">
                  <c:v>40360</c:v>
                </c:pt>
                <c:pt idx="149">
                  <c:v>40361</c:v>
                </c:pt>
                <c:pt idx="150">
                  <c:v>40364</c:v>
                </c:pt>
                <c:pt idx="151">
                  <c:v>40365</c:v>
                </c:pt>
                <c:pt idx="152">
                  <c:v>40366</c:v>
                </c:pt>
                <c:pt idx="153">
                  <c:v>40367</c:v>
                </c:pt>
                <c:pt idx="154">
                  <c:v>40368</c:v>
                </c:pt>
                <c:pt idx="155">
                  <c:v>40371</c:v>
                </c:pt>
                <c:pt idx="156">
                  <c:v>40372</c:v>
                </c:pt>
                <c:pt idx="157">
                  <c:v>40373</c:v>
                </c:pt>
                <c:pt idx="158">
                  <c:v>40374</c:v>
                </c:pt>
                <c:pt idx="159">
                  <c:v>40375</c:v>
                </c:pt>
                <c:pt idx="160">
                  <c:v>40378</c:v>
                </c:pt>
                <c:pt idx="161">
                  <c:v>40379</c:v>
                </c:pt>
                <c:pt idx="162">
                  <c:v>40380</c:v>
                </c:pt>
                <c:pt idx="163">
                  <c:v>40381</c:v>
                </c:pt>
                <c:pt idx="164">
                  <c:v>40382</c:v>
                </c:pt>
                <c:pt idx="165">
                  <c:v>40385</c:v>
                </c:pt>
                <c:pt idx="166">
                  <c:v>40386</c:v>
                </c:pt>
                <c:pt idx="167">
                  <c:v>40387</c:v>
                </c:pt>
                <c:pt idx="168">
                  <c:v>40388</c:v>
                </c:pt>
                <c:pt idx="169">
                  <c:v>40389</c:v>
                </c:pt>
                <c:pt idx="170">
                  <c:v>40392</c:v>
                </c:pt>
                <c:pt idx="171">
                  <c:v>40393</c:v>
                </c:pt>
                <c:pt idx="172">
                  <c:v>40394</c:v>
                </c:pt>
                <c:pt idx="173">
                  <c:v>40395</c:v>
                </c:pt>
                <c:pt idx="174">
                  <c:v>40396</c:v>
                </c:pt>
                <c:pt idx="175">
                  <c:v>40399</c:v>
                </c:pt>
                <c:pt idx="176">
                  <c:v>40400</c:v>
                </c:pt>
                <c:pt idx="177">
                  <c:v>40401</c:v>
                </c:pt>
                <c:pt idx="178">
                  <c:v>40402</c:v>
                </c:pt>
                <c:pt idx="179">
                  <c:v>40403</c:v>
                </c:pt>
                <c:pt idx="180">
                  <c:v>40406</c:v>
                </c:pt>
                <c:pt idx="181">
                  <c:v>40407</c:v>
                </c:pt>
                <c:pt idx="182">
                  <c:v>40408</c:v>
                </c:pt>
                <c:pt idx="183">
                  <c:v>40409</c:v>
                </c:pt>
                <c:pt idx="184">
                  <c:v>40410</c:v>
                </c:pt>
                <c:pt idx="185">
                  <c:v>40413</c:v>
                </c:pt>
                <c:pt idx="186">
                  <c:v>40414</c:v>
                </c:pt>
                <c:pt idx="187">
                  <c:v>40415</c:v>
                </c:pt>
                <c:pt idx="188">
                  <c:v>40416</c:v>
                </c:pt>
                <c:pt idx="189">
                  <c:v>40417</c:v>
                </c:pt>
                <c:pt idx="190">
                  <c:v>40420</c:v>
                </c:pt>
                <c:pt idx="191">
                  <c:v>40421</c:v>
                </c:pt>
                <c:pt idx="192">
                  <c:v>40422</c:v>
                </c:pt>
                <c:pt idx="193">
                  <c:v>40423</c:v>
                </c:pt>
                <c:pt idx="194">
                  <c:v>40424</c:v>
                </c:pt>
                <c:pt idx="195">
                  <c:v>40427</c:v>
                </c:pt>
                <c:pt idx="196">
                  <c:v>40428</c:v>
                </c:pt>
                <c:pt idx="197">
                  <c:v>40429</c:v>
                </c:pt>
                <c:pt idx="198">
                  <c:v>40430</c:v>
                </c:pt>
                <c:pt idx="199">
                  <c:v>40431</c:v>
                </c:pt>
                <c:pt idx="200">
                  <c:v>40434</c:v>
                </c:pt>
                <c:pt idx="201">
                  <c:v>40435</c:v>
                </c:pt>
                <c:pt idx="202">
                  <c:v>40436</c:v>
                </c:pt>
                <c:pt idx="203">
                  <c:v>40437</c:v>
                </c:pt>
                <c:pt idx="204">
                  <c:v>40438</c:v>
                </c:pt>
                <c:pt idx="205">
                  <c:v>40441</c:v>
                </c:pt>
                <c:pt idx="206">
                  <c:v>40442</c:v>
                </c:pt>
                <c:pt idx="207">
                  <c:v>40443</c:v>
                </c:pt>
                <c:pt idx="208">
                  <c:v>40444</c:v>
                </c:pt>
                <c:pt idx="209">
                  <c:v>40445</c:v>
                </c:pt>
                <c:pt idx="210">
                  <c:v>40448</c:v>
                </c:pt>
                <c:pt idx="211">
                  <c:v>40449</c:v>
                </c:pt>
                <c:pt idx="212">
                  <c:v>40450</c:v>
                </c:pt>
                <c:pt idx="213">
                  <c:v>40451</c:v>
                </c:pt>
                <c:pt idx="214">
                  <c:v>40452</c:v>
                </c:pt>
                <c:pt idx="215">
                  <c:v>40455</c:v>
                </c:pt>
                <c:pt idx="216">
                  <c:v>40456</c:v>
                </c:pt>
                <c:pt idx="217">
                  <c:v>40457</c:v>
                </c:pt>
                <c:pt idx="218">
                  <c:v>40458</c:v>
                </c:pt>
                <c:pt idx="219">
                  <c:v>40459</c:v>
                </c:pt>
                <c:pt idx="220">
                  <c:v>40462</c:v>
                </c:pt>
                <c:pt idx="221">
                  <c:v>40463</c:v>
                </c:pt>
                <c:pt idx="222">
                  <c:v>40464</c:v>
                </c:pt>
                <c:pt idx="223">
                  <c:v>40465</c:v>
                </c:pt>
                <c:pt idx="224">
                  <c:v>40466</c:v>
                </c:pt>
                <c:pt idx="225">
                  <c:v>40469</c:v>
                </c:pt>
                <c:pt idx="226">
                  <c:v>40470</c:v>
                </c:pt>
                <c:pt idx="227">
                  <c:v>40471</c:v>
                </c:pt>
                <c:pt idx="228">
                  <c:v>40472</c:v>
                </c:pt>
                <c:pt idx="229">
                  <c:v>40473</c:v>
                </c:pt>
                <c:pt idx="230">
                  <c:v>40476</c:v>
                </c:pt>
                <c:pt idx="231">
                  <c:v>40477</c:v>
                </c:pt>
                <c:pt idx="232">
                  <c:v>40478</c:v>
                </c:pt>
                <c:pt idx="233">
                  <c:v>40479</c:v>
                </c:pt>
                <c:pt idx="234">
                  <c:v>40480</c:v>
                </c:pt>
                <c:pt idx="235">
                  <c:v>40483</c:v>
                </c:pt>
                <c:pt idx="236">
                  <c:v>40484</c:v>
                </c:pt>
                <c:pt idx="237">
                  <c:v>40485</c:v>
                </c:pt>
                <c:pt idx="238">
                  <c:v>40486</c:v>
                </c:pt>
                <c:pt idx="239">
                  <c:v>40487</c:v>
                </c:pt>
                <c:pt idx="240">
                  <c:v>40490</c:v>
                </c:pt>
                <c:pt idx="241">
                  <c:v>40491</c:v>
                </c:pt>
                <c:pt idx="242">
                  <c:v>40492</c:v>
                </c:pt>
                <c:pt idx="243">
                  <c:v>40493</c:v>
                </c:pt>
                <c:pt idx="244">
                  <c:v>40494</c:v>
                </c:pt>
                <c:pt idx="245">
                  <c:v>40497</c:v>
                </c:pt>
                <c:pt idx="246">
                  <c:v>40498</c:v>
                </c:pt>
                <c:pt idx="247">
                  <c:v>40499</c:v>
                </c:pt>
                <c:pt idx="248">
                  <c:v>40500</c:v>
                </c:pt>
                <c:pt idx="249">
                  <c:v>40501</c:v>
                </c:pt>
                <c:pt idx="250">
                  <c:v>40504</c:v>
                </c:pt>
                <c:pt idx="251">
                  <c:v>40505</c:v>
                </c:pt>
                <c:pt idx="252">
                  <c:v>40506</c:v>
                </c:pt>
                <c:pt idx="253">
                  <c:v>40507</c:v>
                </c:pt>
                <c:pt idx="254">
                  <c:v>40508</c:v>
                </c:pt>
                <c:pt idx="255">
                  <c:v>40511</c:v>
                </c:pt>
                <c:pt idx="256">
                  <c:v>40512</c:v>
                </c:pt>
                <c:pt idx="257">
                  <c:v>40513</c:v>
                </c:pt>
                <c:pt idx="258">
                  <c:v>40514</c:v>
                </c:pt>
                <c:pt idx="259">
                  <c:v>40515</c:v>
                </c:pt>
                <c:pt idx="260">
                  <c:v>40518</c:v>
                </c:pt>
                <c:pt idx="261">
                  <c:v>40519</c:v>
                </c:pt>
                <c:pt idx="262">
                  <c:v>40520</c:v>
                </c:pt>
                <c:pt idx="263">
                  <c:v>40521</c:v>
                </c:pt>
                <c:pt idx="264">
                  <c:v>40522</c:v>
                </c:pt>
                <c:pt idx="265">
                  <c:v>40525</c:v>
                </c:pt>
                <c:pt idx="266">
                  <c:v>40526</c:v>
                </c:pt>
                <c:pt idx="267">
                  <c:v>40527</c:v>
                </c:pt>
                <c:pt idx="268">
                  <c:v>40528</c:v>
                </c:pt>
                <c:pt idx="269">
                  <c:v>40529</c:v>
                </c:pt>
                <c:pt idx="270">
                  <c:v>40532</c:v>
                </c:pt>
                <c:pt idx="271">
                  <c:v>40533</c:v>
                </c:pt>
                <c:pt idx="272">
                  <c:v>40534</c:v>
                </c:pt>
                <c:pt idx="273">
                  <c:v>40535</c:v>
                </c:pt>
                <c:pt idx="274">
                  <c:v>40536</c:v>
                </c:pt>
                <c:pt idx="275">
                  <c:v>40539</c:v>
                </c:pt>
                <c:pt idx="276">
                  <c:v>40540</c:v>
                </c:pt>
                <c:pt idx="277">
                  <c:v>40541</c:v>
                </c:pt>
                <c:pt idx="278">
                  <c:v>40542</c:v>
                </c:pt>
                <c:pt idx="279">
                  <c:v>40543</c:v>
                </c:pt>
                <c:pt idx="280">
                  <c:v>40546</c:v>
                </c:pt>
                <c:pt idx="281">
                  <c:v>40547</c:v>
                </c:pt>
                <c:pt idx="282">
                  <c:v>40548</c:v>
                </c:pt>
                <c:pt idx="283">
                  <c:v>40549</c:v>
                </c:pt>
                <c:pt idx="284">
                  <c:v>40550</c:v>
                </c:pt>
                <c:pt idx="285">
                  <c:v>40553</c:v>
                </c:pt>
                <c:pt idx="286">
                  <c:v>40554</c:v>
                </c:pt>
                <c:pt idx="287">
                  <c:v>40555</c:v>
                </c:pt>
                <c:pt idx="288">
                  <c:v>40556</c:v>
                </c:pt>
                <c:pt idx="289">
                  <c:v>40557</c:v>
                </c:pt>
                <c:pt idx="290">
                  <c:v>40560</c:v>
                </c:pt>
                <c:pt idx="291">
                  <c:v>40561</c:v>
                </c:pt>
                <c:pt idx="292">
                  <c:v>40562</c:v>
                </c:pt>
                <c:pt idx="293">
                  <c:v>40563</c:v>
                </c:pt>
                <c:pt idx="294">
                  <c:v>40564</c:v>
                </c:pt>
                <c:pt idx="295">
                  <c:v>40567</c:v>
                </c:pt>
                <c:pt idx="296">
                  <c:v>40568</c:v>
                </c:pt>
                <c:pt idx="297">
                  <c:v>40569</c:v>
                </c:pt>
                <c:pt idx="298">
                  <c:v>40570</c:v>
                </c:pt>
                <c:pt idx="299">
                  <c:v>40571</c:v>
                </c:pt>
                <c:pt idx="300">
                  <c:v>40574</c:v>
                </c:pt>
                <c:pt idx="301">
                  <c:v>40575</c:v>
                </c:pt>
                <c:pt idx="302">
                  <c:v>40576</c:v>
                </c:pt>
                <c:pt idx="303">
                  <c:v>40577</c:v>
                </c:pt>
                <c:pt idx="304">
                  <c:v>40578</c:v>
                </c:pt>
                <c:pt idx="305">
                  <c:v>40581</c:v>
                </c:pt>
                <c:pt idx="306">
                  <c:v>40582</c:v>
                </c:pt>
                <c:pt idx="307">
                  <c:v>40583</c:v>
                </c:pt>
                <c:pt idx="308">
                  <c:v>40584</c:v>
                </c:pt>
                <c:pt idx="309">
                  <c:v>40585</c:v>
                </c:pt>
                <c:pt idx="310">
                  <c:v>40588</c:v>
                </c:pt>
                <c:pt idx="311">
                  <c:v>40589</c:v>
                </c:pt>
                <c:pt idx="312">
                  <c:v>40590</c:v>
                </c:pt>
                <c:pt idx="313">
                  <c:v>40591</c:v>
                </c:pt>
                <c:pt idx="314">
                  <c:v>40592</c:v>
                </c:pt>
                <c:pt idx="315">
                  <c:v>40595</c:v>
                </c:pt>
                <c:pt idx="316">
                  <c:v>40596</c:v>
                </c:pt>
                <c:pt idx="317">
                  <c:v>40597</c:v>
                </c:pt>
                <c:pt idx="318">
                  <c:v>40598</c:v>
                </c:pt>
                <c:pt idx="319">
                  <c:v>40599</c:v>
                </c:pt>
                <c:pt idx="320">
                  <c:v>40602</c:v>
                </c:pt>
                <c:pt idx="321">
                  <c:v>40603</c:v>
                </c:pt>
                <c:pt idx="322">
                  <c:v>40604</c:v>
                </c:pt>
                <c:pt idx="323">
                  <c:v>40605</c:v>
                </c:pt>
                <c:pt idx="324">
                  <c:v>40606</c:v>
                </c:pt>
                <c:pt idx="325">
                  <c:v>40609</c:v>
                </c:pt>
                <c:pt idx="326">
                  <c:v>40610</c:v>
                </c:pt>
                <c:pt idx="327">
                  <c:v>40611</c:v>
                </c:pt>
                <c:pt idx="328">
                  <c:v>40612</c:v>
                </c:pt>
                <c:pt idx="329">
                  <c:v>40613</c:v>
                </c:pt>
                <c:pt idx="330">
                  <c:v>40616</c:v>
                </c:pt>
                <c:pt idx="331">
                  <c:v>40617</c:v>
                </c:pt>
                <c:pt idx="332">
                  <c:v>40618</c:v>
                </c:pt>
                <c:pt idx="333">
                  <c:v>40619</c:v>
                </c:pt>
                <c:pt idx="334">
                  <c:v>40620</c:v>
                </c:pt>
                <c:pt idx="335">
                  <c:v>40623</c:v>
                </c:pt>
                <c:pt idx="336">
                  <c:v>40624</c:v>
                </c:pt>
                <c:pt idx="337">
                  <c:v>40625</c:v>
                </c:pt>
                <c:pt idx="338">
                  <c:v>40626</c:v>
                </c:pt>
                <c:pt idx="339">
                  <c:v>40627</c:v>
                </c:pt>
                <c:pt idx="340">
                  <c:v>40630</c:v>
                </c:pt>
                <c:pt idx="341">
                  <c:v>40631</c:v>
                </c:pt>
                <c:pt idx="342">
                  <c:v>40632</c:v>
                </c:pt>
                <c:pt idx="343">
                  <c:v>40633</c:v>
                </c:pt>
                <c:pt idx="344">
                  <c:v>40634</c:v>
                </c:pt>
                <c:pt idx="345">
                  <c:v>40637</c:v>
                </c:pt>
                <c:pt idx="346">
                  <c:v>40638</c:v>
                </c:pt>
                <c:pt idx="347">
                  <c:v>40639</c:v>
                </c:pt>
                <c:pt idx="348">
                  <c:v>40640</c:v>
                </c:pt>
                <c:pt idx="349">
                  <c:v>40641</c:v>
                </c:pt>
                <c:pt idx="350">
                  <c:v>40644</c:v>
                </c:pt>
                <c:pt idx="351">
                  <c:v>40645</c:v>
                </c:pt>
                <c:pt idx="352">
                  <c:v>40646</c:v>
                </c:pt>
                <c:pt idx="353">
                  <c:v>40647</c:v>
                </c:pt>
                <c:pt idx="354">
                  <c:v>40648</c:v>
                </c:pt>
                <c:pt idx="355">
                  <c:v>40651</c:v>
                </c:pt>
                <c:pt idx="356">
                  <c:v>40652</c:v>
                </c:pt>
                <c:pt idx="357">
                  <c:v>40653</c:v>
                </c:pt>
                <c:pt idx="358">
                  <c:v>40654</c:v>
                </c:pt>
                <c:pt idx="359">
                  <c:v>40659</c:v>
                </c:pt>
                <c:pt idx="360">
                  <c:v>40660</c:v>
                </c:pt>
                <c:pt idx="361">
                  <c:v>40661</c:v>
                </c:pt>
                <c:pt idx="362">
                  <c:v>40662</c:v>
                </c:pt>
                <c:pt idx="363">
                  <c:v>40665</c:v>
                </c:pt>
                <c:pt idx="364">
                  <c:v>40666</c:v>
                </c:pt>
                <c:pt idx="365">
                  <c:v>40667</c:v>
                </c:pt>
                <c:pt idx="366">
                  <c:v>40668</c:v>
                </c:pt>
                <c:pt idx="367">
                  <c:v>40669</c:v>
                </c:pt>
                <c:pt idx="368">
                  <c:v>40672</c:v>
                </c:pt>
                <c:pt idx="369">
                  <c:v>40673</c:v>
                </c:pt>
                <c:pt idx="370">
                  <c:v>40674</c:v>
                </c:pt>
                <c:pt idx="371">
                  <c:v>40675</c:v>
                </c:pt>
                <c:pt idx="372">
                  <c:v>40676</c:v>
                </c:pt>
                <c:pt idx="373">
                  <c:v>40679</c:v>
                </c:pt>
                <c:pt idx="374">
                  <c:v>40680</c:v>
                </c:pt>
                <c:pt idx="375">
                  <c:v>40681</c:v>
                </c:pt>
                <c:pt idx="376">
                  <c:v>40682</c:v>
                </c:pt>
                <c:pt idx="377">
                  <c:v>40683</c:v>
                </c:pt>
                <c:pt idx="378">
                  <c:v>40686</c:v>
                </c:pt>
                <c:pt idx="379">
                  <c:v>40687</c:v>
                </c:pt>
                <c:pt idx="380">
                  <c:v>40688</c:v>
                </c:pt>
                <c:pt idx="381">
                  <c:v>40689</c:v>
                </c:pt>
                <c:pt idx="382">
                  <c:v>40690</c:v>
                </c:pt>
                <c:pt idx="383">
                  <c:v>40693</c:v>
                </c:pt>
                <c:pt idx="384">
                  <c:v>40694</c:v>
                </c:pt>
                <c:pt idx="385">
                  <c:v>40695</c:v>
                </c:pt>
                <c:pt idx="386">
                  <c:v>40696</c:v>
                </c:pt>
                <c:pt idx="387">
                  <c:v>40697</c:v>
                </c:pt>
                <c:pt idx="388">
                  <c:v>40700</c:v>
                </c:pt>
                <c:pt idx="389">
                  <c:v>40701</c:v>
                </c:pt>
                <c:pt idx="390">
                  <c:v>40702</c:v>
                </c:pt>
                <c:pt idx="391">
                  <c:v>40703</c:v>
                </c:pt>
                <c:pt idx="392">
                  <c:v>40704</c:v>
                </c:pt>
                <c:pt idx="393">
                  <c:v>40707</c:v>
                </c:pt>
                <c:pt idx="394">
                  <c:v>40708</c:v>
                </c:pt>
                <c:pt idx="395">
                  <c:v>40709</c:v>
                </c:pt>
                <c:pt idx="396">
                  <c:v>40710</c:v>
                </c:pt>
                <c:pt idx="397">
                  <c:v>40711</c:v>
                </c:pt>
                <c:pt idx="398">
                  <c:v>40714</c:v>
                </c:pt>
                <c:pt idx="399">
                  <c:v>40715</c:v>
                </c:pt>
                <c:pt idx="400">
                  <c:v>40716</c:v>
                </c:pt>
                <c:pt idx="401">
                  <c:v>40717</c:v>
                </c:pt>
                <c:pt idx="402">
                  <c:v>40718</c:v>
                </c:pt>
                <c:pt idx="403">
                  <c:v>40721</c:v>
                </c:pt>
                <c:pt idx="404">
                  <c:v>40722</c:v>
                </c:pt>
                <c:pt idx="405">
                  <c:v>40723</c:v>
                </c:pt>
                <c:pt idx="406">
                  <c:v>40724</c:v>
                </c:pt>
                <c:pt idx="407">
                  <c:v>40725</c:v>
                </c:pt>
                <c:pt idx="408">
                  <c:v>40728</c:v>
                </c:pt>
                <c:pt idx="409">
                  <c:v>40729</c:v>
                </c:pt>
                <c:pt idx="410">
                  <c:v>40730</c:v>
                </c:pt>
                <c:pt idx="411">
                  <c:v>40731</c:v>
                </c:pt>
                <c:pt idx="412">
                  <c:v>40732</c:v>
                </c:pt>
                <c:pt idx="413">
                  <c:v>40735</c:v>
                </c:pt>
                <c:pt idx="414">
                  <c:v>40736</c:v>
                </c:pt>
                <c:pt idx="415">
                  <c:v>40737</c:v>
                </c:pt>
                <c:pt idx="416">
                  <c:v>40738</c:v>
                </c:pt>
                <c:pt idx="417">
                  <c:v>40739</c:v>
                </c:pt>
                <c:pt idx="418">
                  <c:v>40742</c:v>
                </c:pt>
                <c:pt idx="419">
                  <c:v>40743</c:v>
                </c:pt>
                <c:pt idx="420">
                  <c:v>40744</c:v>
                </c:pt>
                <c:pt idx="421">
                  <c:v>40745</c:v>
                </c:pt>
                <c:pt idx="422">
                  <c:v>40746</c:v>
                </c:pt>
                <c:pt idx="423">
                  <c:v>40749</c:v>
                </c:pt>
                <c:pt idx="424">
                  <c:v>40750</c:v>
                </c:pt>
                <c:pt idx="425">
                  <c:v>40751</c:v>
                </c:pt>
                <c:pt idx="426">
                  <c:v>40752</c:v>
                </c:pt>
                <c:pt idx="427">
                  <c:v>40753</c:v>
                </c:pt>
                <c:pt idx="428">
                  <c:v>40756</c:v>
                </c:pt>
                <c:pt idx="429">
                  <c:v>40757</c:v>
                </c:pt>
                <c:pt idx="430">
                  <c:v>40758</c:v>
                </c:pt>
                <c:pt idx="431">
                  <c:v>40759</c:v>
                </c:pt>
                <c:pt idx="432">
                  <c:v>40760</c:v>
                </c:pt>
                <c:pt idx="433">
                  <c:v>40763</c:v>
                </c:pt>
                <c:pt idx="434">
                  <c:v>40764</c:v>
                </c:pt>
                <c:pt idx="435">
                  <c:v>40765</c:v>
                </c:pt>
                <c:pt idx="436">
                  <c:v>40766</c:v>
                </c:pt>
                <c:pt idx="437">
                  <c:v>40767</c:v>
                </c:pt>
                <c:pt idx="438">
                  <c:v>40770</c:v>
                </c:pt>
                <c:pt idx="439">
                  <c:v>40771</c:v>
                </c:pt>
                <c:pt idx="440">
                  <c:v>40772</c:v>
                </c:pt>
                <c:pt idx="441">
                  <c:v>40773</c:v>
                </c:pt>
                <c:pt idx="442">
                  <c:v>40774</c:v>
                </c:pt>
                <c:pt idx="443">
                  <c:v>40777</c:v>
                </c:pt>
                <c:pt idx="444">
                  <c:v>40778</c:v>
                </c:pt>
                <c:pt idx="445">
                  <c:v>40779</c:v>
                </c:pt>
                <c:pt idx="446">
                  <c:v>40780</c:v>
                </c:pt>
                <c:pt idx="447">
                  <c:v>40781</c:v>
                </c:pt>
                <c:pt idx="448">
                  <c:v>40784</c:v>
                </c:pt>
                <c:pt idx="449">
                  <c:v>40785</c:v>
                </c:pt>
                <c:pt idx="450">
                  <c:v>40786</c:v>
                </c:pt>
                <c:pt idx="451">
                  <c:v>40787</c:v>
                </c:pt>
                <c:pt idx="452">
                  <c:v>40788</c:v>
                </c:pt>
                <c:pt idx="453">
                  <c:v>40791</c:v>
                </c:pt>
                <c:pt idx="454">
                  <c:v>40792</c:v>
                </c:pt>
                <c:pt idx="455">
                  <c:v>40793</c:v>
                </c:pt>
                <c:pt idx="456">
                  <c:v>40794</c:v>
                </c:pt>
                <c:pt idx="457">
                  <c:v>40795</c:v>
                </c:pt>
                <c:pt idx="458">
                  <c:v>40798</c:v>
                </c:pt>
                <c:pt idx="459">
                  <c:v>40799</c:v>
                </c:pt>
                <c:pt idx="460">
                  <c:v>40800</c:v>
                </c:pt>
                <c:pt idx="461">
                  <c:v>40801</c:v>
                </c:pt>
                <c:pt idx="462">
                  <c:v>40802</c:v>
                </c:pt>
                <c:pt idx="463">
                  <c:v>40805</c:v>
                </c:pt>
                <c:pt idx="464">
                  <c:v>40806</c:v>
                </c:pt>
                <c:pt idx="465">
                  <c:v>40807</c:v>
                </c:pt>
                <c:pt idx="466">
                  <c:v>40808</c:v>
                </c:pt>
                <c:pt idx="467">
                  <c:v>40809</c:v>
                </c:pt>
                <c:pt idx="468">
                  <c:v>40812</c:v>
                </c:pt>
                <c:pt idx="469">
                  <c:v>40813</c:v>
                </c:pt>
                <c:pt idx="470">
                  <c:v>40814</c:v>
                </c:pt>
                <c:pt idx="471">
                  <c:v>40815</c:v>
                </c:pt>
                <c:pt idx="472">
                  <c:v>40816</c:v>
                </c:pt>
                <c:pt idx="473">
                  <c:v>40819</c:v>
                </c:pt>
                <c:pt idx="474">
                  <c:v>40820</c:v>
                </c:pt>
                <c:pt idx="475">
                  <c:v>40821</c:v>
                </c:pt>
                <c:pt idx="476">
                  <c:v>40822</c:v>
                </c:pt>
                <c:pt idx="477">
                  <c:v>40823</c:v>
                </c:pt>
                <c:pt idx="478">
                  <c:v>40826</c:v>
                </c:pt>
                <c:pt idx="479">
                  <c:v>40827</c:v>
                </c:pt>
                <c:pt idx="480">
                  <c:v>40828</c:v>
                </c:pt>
                <c:pt idx="481">
                  <c:v>40829</c:v>
                </c:pt>
                <c:pt idx="482">
                  <c:v>40830</c:v>
                </c:pt>
                <c:pt idx="483">
                  <c:v>40833</c:v>
                </c:pt>
                <c:pt idx="484">
                  <c:v>40834</c:v>
                </c:pt>
                <c:pt idx="485">
                  <c:v>40835</c:v>
                </c:pt>
                <c:pt idx="486">
                  <c:v>40836</c:v>
                </c:pt>
                <c:pt idx="487">
                  <c:v>40837</c:v>
                </c:pt>
                <c:pt idx="488">
                  <c:v>40840</c:v>
                </c:pt>
                <c:pt idx="489">
                  <c:v>40841</c:v>
                </c:pt>
                <c:pt idx="490">
                  <c:v>40842</c:v>
                </c:pt>
                <c:pt idx="491">
                  <c:v>40843</c:v>
                </c:pt>
                <c:pt idx="492">
                  <c:v>40844</c:v>
                </c:pt>
                <c:pt idx="493">
                  <c:v>40847</c:v>
                </c:pt>
                <c:pt idx="494">
                  <c:v>40848</c:v>
                </c:pt>
                <c:pt idx="495">
                  <c:v>40849</c:v>
                </c:pt>
                <c:pt idx="496">
                  <c:v>40850</c:v>
                </c:pt>
                <c:pt idx="497">
                  <c:v>40851</c:v>
                </c:pt>
                <c:pt idx="498">
                  <c:v>40854</c:v>
                </c:pt>
                <c:pt idx="499">
                  <c:v>40855</c:v>
                </c:pt>
                <c:pt idx="500">
                  <c:v>40856</c:v>
                </c:pt>
                <c:pt idx="501">
                  <c:v>40857</c:v>
                </c:pt>
                <c:pt idx="502">
                  <c:v>40858</c:v>
                </c:pt>
                <c:pt idx="503">
                  <c:v>40861</c:v>
                </c:pt>
                <c:pt idx="504">
                  <c:v>40862</c:v>
                </c:pt>
                <c:pt idx="505">
                  <c:v>40863</c:v>
                </c:pt>
                <c:pt idx="506">
                  <c:v>40864</c:v>
                </c:pt>
                <c:pt idx="507">
                  <c:v>40865</c:v>
                </c:pt>
                <c:pt idx="508">
                  <c:v>40868</c:v>
                </c:pt>
                <c:pt idx="509">
                  <c:v>40869</c:v>
                </c:pt>
                <c:pt idx="510">
                  <c:v>40870</c:v>
                </c:pt>
                <c:pt idx="511">
                  <c:v>40871</c:v>
                </c:pt>
                <c:pt idx="512">
                  <c:v>40872</c:v>
                </c:pt>
                <c:pt idx="513">
                  <c:v>40875</c:v>
                </c:pt>
                <c:pt idx="514">
                  <c:v>40876</c:v>
                </c:pt>
                <c:pt idx="515">
                  <c:v>40877</c:v>
                </c:pt>
                <c:pt idx="516">
                  <c:v>40878</c:v>
                </c:pt>
                <c:pt idx="517">
                  <c:v>40879</c:v>
                </c:pt>
                <c:pt idx="518">
                  <c:v>40882</c:v>
                </c:pt>
                <c:pt idx="519">
                  <c:v>40883</c:v>
                </c:pt>
                <c:pt idx="520">
                  <c:v>40884</c:v>
                </c:pt>
                <c:pt idx="521">
                  <c:v>40885</c:v>
                </c:pt>
                <c:pt idx="522">
                  <c:v>40886</c:v>
                </c:pt>
                <c:pt idx="523">
                  <c:v>40889</c:v>
                </c:pt>
                <c:pt idx="524">
                  <c:v>40890</c:v>
                </c:pt>
                <c:pt idx="525">
                  <c:v>40891</c:v>
                </c:pt>
                <c:pt idx="526">
                  <c:v>40892</c:v>
                </c:pt>
                <c:pt idx="527">
                  <c:v>40893</c:v>
                </c:pt>
                <c:pt idx="528">
                  <c:v>40896</c:v>
                </c:pt>
                <c:pt idx="529">
                  <c:v>40897</c:v>
                </c:pt>
                <c:pt idx="530">
                  <c:v>40898</c:v>
                </c:pt>
                <c:pt idx="531">
                  <c:v>40899</c:v>
                </c:pt>
                <c:pt idx="532">
                  <c:v>40900</c:v>
                </c:pt>
                <c:pt idx="533">
                  <c:v>40904</c:v>
                </c:pt>
                <c:pt idx="534">
                  <c:v>40905</c:v>
                </c:pt>
                <c:pt idx="535">
                  <c:v>40906</c:v>
                </c:pt>
                <c:pt idx="536">
                  <c:v>40907</c:v>
                </c:pt>
                <c:pt idx="537">
                  <c:v>40910</c:v>
                </c:pt>
                <c:pt idx="538">
                  <c:v>40911</c:v>
                </c:pt>
                <c:pt idx="539">
                  <c:v>40912</c:v>
                </c:pt>
                <c:pt idx="540">
                  <c:v>40913</c:v>
                </c:pt>
                <c:pt idx="541">
                  <c:v>40914</c:v>
                </c:pt>
                <c:pt idx="542">
                  <c:v>40917</c:v>
                </c:pt>
                <c:pt idx="543">
                  <c:v>40918</c:v>
                </c:pt>
                <c:pt idx="544">
                  <c:v>40919</c:v>
                </c:pt>
                <c:pt idx="545">
                  <c:v>40920</c:v>
                </c:pt>
                <c:pt idx="546">
                  <c:v>40921</c:v>
                </c:pt>
                <c:pt idx="547">
                  <c:v>40924</c:v>
                </c:pt>
                <c:pt idx="548">
                  <c:v>40925</c:v>
                </c:pt>
                <c:pt idx="549">
                  <c:v>40926</c:v>
                </c:pt>
                <c:pt idx="550">
                  <c:v>40927</c:v>
                </c:pt>
                <c:pt idx="551">
                  <c:v>40928</c:v>
                </c:pt>
                <c:pt idx="552">
                  <c:v>40931</c:v>
                </c:pt>
                <c:pt idx="553">
                  <c:v>40932</c:v>
                </c:pt>
                <c:pt idx="554">
                  <c:v>40933</c:v>
                </c:pt>
                <c:pt idx="555">
                  <c:v>40934</c:v>
                </c:pt>
                <c:pt idx="556">
                  <c:v>40935</c:v>
                </c:pt>
                <c:pt idx="557">
                  <c:v>40938</c:v>
                </c:pt>
                <c:pt idx="558">
                  <c:v>40939</c:v>
                </c:pt>
                <c:pt idx="559">
                  <c:v>40940</c:v>
                </c:pt>
                <c:pt idx="560">
                  <c:v>40941</c:v>
                </c:pt>
                <c:pt idx="561">
                  <c:v>40942</c:v>
                </c:pt>
                <c:pt idx="562">
                  <c:v>40945</c:v>
                </c:pt>
                <c:pt idx="563">
                  <c:v>40946</c:v>
                </c:pt>
                <c:pt idx="564">
                  <c:v>40947</c:v>
                </c:pt>
                <c:pt idx="565">
                  <c:v>40948</c:v>
                </c:pt>
                <c:pt idx="566">
                  <c:v>40949</c:v>
                </c:pt>
                <c:pt idx="567">
                  <c:v>40952</c:v>
                </c:pt>
                <c:pt idx="568">
                  <c:v>40953</c:v>
                </c:pt>
                <c:pt idx="569">
                  <c:v>40954</c:v>
                </c:pt>
                <c:pt idx="570">
                  <c:v>40955</c:v>
                </c:pt>
                <c:pt idx="571">
                  <c:v>40956</c:v>
                </c:pt>
                <c:pt idx="572">
                  <c:v>40959</c:v>
                </c:pt>
                <c:pt idx="573">
                  <c:v>40960</c:v>
                </c:pt>
                <c:pt idx="574">
                  <c:v>40961</c:v>
                </c:pt>
                <c:pt idx="575">
                  <c:v>40962</c:v>
                </c:pt>
                <c:pt idx="576">
                  <c:v>40963</c:v>
                </c:pt>
                <c:pt idx="577">
                  <c:v>40966</c:v>
                </c:pt>
                <c:pt idx="578">
                  <c:v>40967</c:v>
                </c:pt>
                <c:pt idx="579">
                  <c:v>40968</c:v>
                </c:pt>
                <c:pt idx="580">
                  <c:v>40969</c:v>
                </c:pt>
                <c:pt idx="581">
                  <c:v>40970</c:v>
                </c:pt>
                <c:pt idx="582">
                  <c:v>40973</c:v>
                </c:pt>
                <c:pt idx="583">
                  <c:v>40974</c:v>
                </c:pt>
                <c:pt idx="584">
                  <c:v>40975</c:v>
                </c:pt>
                <c:pt idx="585">
                  <c:v>40976</c:v>
                </c:pt>
                <c:pt idx="586">
                  <c:v>40977</c:v>
                </c:pt>
                <c:pt idx="587">
                  <c:v>40980</c:v>
                </c:pt>
                <c:pt idx="588">
                  <c:v>40981</c:v>
                </c:pt>
                <c:pt idx="589">
                  <c:v>40982</c:v>
                </c:pt>
                <c:pt idx="590">
                  <c:v>40983</c:v>
                </c:pt>
                <c:pt idx="591">
                  <c:v>40984</c:v>
                </c:pt>
                <c:pt idx="592">
                  <c:v>40987</c:v>
                </c:pt>
                <c:pt idx="593">
                  <c:v>40988</c:v>
                </c:pt>
                <c:pt idx="594">
                  <c:v>40989</c:v>
                </c:pt>
                <c:pt idx="595">
                  <c:v>40990</c:v>
                </c:pt>
                <c:pt idx="596">
                  <c:v>40991</c:v>
                </c:pt>
                <c:pt idx="597">
                  <c:v>40994</c:v>
                </c:pt>
                <c:pt idx="598">
                  <c:v>40995</c:v>
                </c:pt>
                <c:pt idx="599">
                  <c:v>40996</c:v>
                </c:pt>
                <c:pt idx="600">
                  <c:v>40997</c:v>
                </c:pt>
                <c:pt idx="601">
                  <c:v>40998</c:v>
                </c:pt>
                <c:pt idx="602">
                  <c:v>41001</c:v>
                </c:pt>
                <c:pt idx="603">
                  <c:v>41002</c:v>
                </c:pt>
                <c:pt idx="604">
                  <c:v>41003</c:v>
                </c:pt>
                <c:pt idx="605">
                  <c:v>41004</c:v>
                </c:pt>
                <c:pt idx="606">
                  <c:v>41009</c:v>
                </c:pt>
                <c:pt idx="607">
                  <c:v>41010</c:v>
                </c:pt>
                <c:pt idx="608">
                  <c:v>41011</c:v>
                </c:pt>
                <c:pt idx="609">
                  <c:v>41012</c:v>
                </c:pt>
                <c:pt idx="610">
                  <c:v>41015</c:v>
                </c:pt>
                <c:pt idx="611">
                  <c:v>41016</c:v>
                </c:pt>
                <c:pt idx="612">
                  <c:v>41017</c:v>
                </c:pt>
                <c:pt idx="613">
                  <c:v>41018</c:v>
                </c:pt>
                <c:pt idx="614">
                  <c:v>41019</c:v>
                </c:pt>
                <c:pt idx="615">
                  <c:v>41022</c:v>
                </c:pt>
                <c:pt idx="616">
                  <c:v>41023</c:v>
                </c:pt>
                <c:pt idx="617">
                  <c:v>41024</c:v>
                </c:pt>
                <c:pt idx="618">
                  <c:v>41025</c:v>
                </c:pt>
                <c:pt idx="619">
                  <c:v>41026</c:v>
                </c:pt>
                <c:pt idx="620">
                  <c:v>41029</c:v>
                </c:pt>
                <c:pt idx="621">
                  <c:v>41030</c:v>
                </c:pt>
                <c:pt idx="622">
                  <c:v>41031</c:v>
                </c:pt>
                <c:pt idx="623">
                  <c:v>41032</c:v>
                </c:pt>
                <c:pt idx="624">
                  <c:v>41033</c:v>
                </c:pt>
                <c:pt idx="625">
                  <c:v>41036</c:v>
                </c:pt>
                <c:pt idx="626">
                  <c:v>41037</c:v>
                </c:pt>
                <c:pt idx="627">
                  <c:v>41038</c:v>
                </c:pt>
                <c:pt idx="628">
                  <c:v>41039</c:v>
                </c:pt>
                <c:pt idx="629">
                  <c:v>41040</c:v>
                </c:pt>
                <c:pt idx="630">
                  <c:v>41043</c:v>
                </c:pt>
                <c:pt idx="631">
                  <c:v>41044</c:v>
                </c:pt>
                <c:pt idx="632">
                  <c:v>41045</c:v>
                </c:pt>
                <c:pt idx="633">
                  <c:v>41046</c:v>
                </c:pt>
                <c:pt idx="634">
                  <c:v>41047</c:v>
                </c:pt>
                <c:pt idx="635">
                  <c:v>41050</c:v>
                </c:pt>
                <c:pt idx="636">
                  <c:v>41051</c:v>
                </c:pt>
                <c:pt idx="637">
                  <c:v>41052</c:v>
                </c:pt>
                <c:pt idx="638">
                  <c:v>41053</c:v>
                </c:pt>
                <c:pt idx="639">
                  <c:v>41054</c:v>
                </c:pt>
                <c:pt idx="640">
                  <c:v>41057</c:v>
                </c:pt>
                <c:pt idx="641">
                  <c:v>41058</c:v>
                </c:pt>
                <c:pt idx="642">
                  <c:v>41059</c:v>
                </c:pt>
                <c:pt idx="643">
                  <c:v>41060</c:v>
                </c:pt>
                <c:pt idx="644">
                  <c:v>41061</c:v>
                </c:pt>
                <c:pt idx="645">
                  <c:v>41064</c:v>
                </c:pt>
                <c:pt idx="646">
                  <c:v>41065</c:v>
                </c:pt>
                <c:pt idx="647">
                  <c:v>41066</c:v>
                </c:pt>
                <c:pt idx="648">
                  <c:v>41067</c:v>
                </c:pt>
                <c:pt idx="649">
                  <c:v>41068</c:v>
                </c:pt>
                <c:pt idx="650">
                  <c:v>41071</c:v>
                </c:pt>
                <c:pt idx="651">
                  <c:v>41072</c:v>
                </c:pt>
                <c:pt idx="652">
                  <c:v>41073</c:v>
                </c:pt>
                <c:pt idx="653">
                  <c:v>41074</c:v>
                </c:pt>
                <c:pt idx="654">
                  <c:v>41075</c:v>
                </c:pt>
                <c:pt idx="655">
                  <c:v>41078</c:v>
                </c:pt>
                <c:pt idx="656">
                  <c:v>41079</c:v>
                </c:pt>
                <c:pt idx="657">
                  <c:v>41080</c:v>
                </c:pt>
                <c:pt idx="658">
                  <c:v>41081</c:v>
                </c:pt>
                <c:pt idx="659">
                  <c:v>41082</c:v>
                </c:pt>
                <c:pt idx="660">
                  <c:v>41085</c:v>
                </c:pt>
                <c:pt idx="661">
                  <c:v>41086</c:v>
                </c:pt>
                <c:pt idx="662">
                  <c:v>41087</c:v>
                </c:pt>
                <c:pt idx="663">
                  <c:v>41088</c:v>
                </c:pt>
                <c:pt idx="664">
                  <c:v>41089</c:v>
                </c:pt>
                <c:pt idx="665">
                  <c:v>41092</c:v>
                </c:pt>
                <c:pt idx="666">
                  <c:v>41093</c:v>
                </c:pt>
                <c:pt idx="667">
                  <c:v>41094</c:v>
                </c:pt>
                <c:pt idx="668">
                  <c:v>41095</c:v>
                </c:pt>
                <c:pt idx="669">
                  <c:v>41096</c:v>
                </c:pt>
                <c:pt idx="670">
                  <c:v>41099</c:v>
                </c:pt>
                <c:pt idx="671">
                  <c:v>41100</c:v>
                </c:pt>
                <c:pt idx="672">
                  <c:v>41101</c:v>
                </c:pt>
                <c:pt idx="673">
                  <c:v>41102</c:v>
                </c:pt>
                <c:pt idx="674">
                  <c:v>41103</c:v>
                </c:pt>
                <c:pt idx="675">
                  <c:v>41106</c:v>
                </c:pt>
                <c:pt idx="676">
                  <c:v>41107</c:v>
                </c:pt>
                <c:pt idx="677">
                  <c:v>41108</c:v>
                </c:pt>
                <c:pt idx="678">
                  <c:v>41109</c:v>
                </c:pt>
                <c:pt idx="679">
                  <c:v>41110</c:v>
                </c:pt>
                <c:pt idx="680">
                  <c:v>41113</c:v>
                </c:pt>
                <c:pt idx="681">
                  <c:v>41114</c:v>
                </c:pt>
                <c:pt idx="682">
                  <c:v>41115</c:v>
                </c:pt>
                <c:pt idx="683">
                  <c:v>41116</c:v>
                </c:pt>
                <c:pt idx="684">
                  <c:v>41117</c:v>
                </c:pt>
                <c:pt idx="685">
                  <c:v>41120</c:v>
                </c:pt>
                <c:pt idx="686">
                  <c:v>41121</c:v>
                </c:pt>
                <c:pt idx="687">
                  <c:v>41122</c:v>
                </c:pt>
                <c:pt idx="688">
                  <c:v>41123</c:v>
                </c:pt>
                <c:pt idx="689">
                  <c:v>41124</c:v>
                </c:pt>
                <c:pt idx="690">
                  <c:v>41127</c:v>
                </c:pt>
                <c:pt idx="691">
                  <c:v>41128</c:v>
                </c:pt>
                <c:pt idx="692">
                  <c:v>41129</c:v>
                </c:pt>
                <c:pt idx="693">
                  <c:v>41130</c:v>
                </c:pt>
                <c:pt idx="694">
                  <c:v>41131</c:v>
                </c:pt>
                <c:pt idx="695">
                  <c:v>41134</c:v>
                </c:pt>
                <c:pt idx="696">
                  <c:v>41135</c:v>
                </c:pt>
                <c:pt idx="697">
                  <c:v>41136</c:v>
                </c:pt>
                <c:pt idx="698">
                  <c:v>41137</c:v>
                </c:pt>
                <c:pt idx="699">
                  <c:v>41138</c:v>
                </c:pt>
                <c:pt idx="700">
                  <c:v>41141</c:v>
                </c:pt>
                <c:pt idx="701">
                  <c:v>41142</c:v>
                </c:pt>
                <c:pt idx="702">
                  <c:v>41143</c:v>
                </c:pt>
                <c:pt idx="703">
                  <c:v>41144</c:v>
                </c:pt>
                <c:pt idx="704">
                  <c:v>41145</c:v>
                </c:pt>
                <c:pt idx="705">
                  <c:v>41148</c:v>
                </c:pt>
                <c:pt idx="706">
                  <c:v>41149</c:v>
                </c:pt>
                <c:pt idx="707">
                  <c:v>41150</c:v>
                </c:pt>
                <c:pt idx="708">
                  <c:v>41151</c:v>
                </c:pt>
                <c:pt idx="709">
                  <c:v>41152</c:v>
                </c:pt>
                <c:pt idx="710">
                  <c:v>41155</c:v>
                </c:pt>
                <c:pt idx="711">
                  <c:v>41156</c:v>
                </c:pt>
                <c:pt idx="712">
                  <c:v>41157</c:v>
                </c:pt>
                <c:pt idx="713">
                  <c:v>41158</c:v>
                </c:pt>
                <c:pt idx="714">
                  <c:v>41159</c:v>
                </c:pt>
                <c:pt idx="715">
                  <c:v>41162</c:v>
                </c:pt>
                <c:pt idx="716">
                  <c:v>41163</c:v>
                </c:pt>
                <c:pt idx="717">
                  <c:v>41164</c:v>
                </c:pt>
                <c:pt idx="718">
                  <c:v>41165</c:v>
                </c:pt>
                <c:pt idx="719">
                  <c:v>41166</c:v>
                </c:pt>
                <c:pt idx="720">
                  <c:v>41169</c:v>
                </c:pt>
                <c:pt idx="721">
                  <c:v>41170</c:v>
                </c:pt>
                <c:pt idx="722">
                  <c:v>41171</c:v>
                </c:pt>
                <c:pt idx="723">
                  <c:v>41172</c:v>
                </c:pt>
                <c:pt idx="724">
                  <c:v>41173</c:v>
                </c:pt>
                <c:pt idx="725">
                  <c:v>41176</c:v>
                </c:pt>
                <c:pt idx="726">
                  <c:v>41177</c:v>
                </c:pt>
                <c:pt idx="727">
                  <c:v>41178</c:v>
                </c:pt>
                <c:pt idx="728">
                  <c:v>41179</c:v>
                </c:pt>
                <c:pt idx="729">
                  <c:v>41180</c:v>
                </c:pt>
                <c:pt idx="730">
                  <c:v>41183</c:v>
                </c:pt>
                <c:pt idx="731">
                  <c:v>41184</c:v>
                </c:pt>
                <c:pt idx="732">
                  <c:v>41185</c:v>
                </c:pt>
                <c:pt idx="733">
                  <c:v>41186</c:v>
                </c:pt>
                <c:pt idx="734">
                  <c:v>41187</c:v>
                </c:pt>
                <c:pt idx="735">
                  <c:v>41190</c:v>
                </c:pt>
                <c:pt idx="736">
                  <c:v>41191</c:v>
                </c:pt>
                <c:pt idx="737">
                  <c:v>41192</c:v>
                </c:pt>
                <c:pt idx="738">
                  <c:v>41193</c:v>
                </c:pt>
                <c:pt idx="739">
                  <c:v>41194</c:v>
                </c:pt>
                <c:pt idx="740">
                  <c:v>41197</c:v>
                </c:pt>
                <c:pt idx="741">
                  <c:v>41198</c:v>
                </c:pt>
                <c:pt idx="742">
                  <c:v>41199</c:v>
                </c:pt>
                <c:pt idx="743">
                  <c:v>41200</c:v>
                </c:pt>
                <c:pt idx="744">
                  <c:v>41201</c:v>
                </c:pt>
                <c:pt idx="745">
                  <c:v>41204</c:v>
                </c:pt>
                <c:pt idx="746">
                  <c:v>41205</c:v>
                </c:pt>
                <c:pt idx="747">
                  <c:v>41206</c:v>
                </c:pt>
                <c:pt idx="748">
                  <c:v>41207</c:v>
                </c:pt>
                <c:pt idx="749">
                  <c:v>41208</c:v>
                </c:pt>
                <c:pt idx="750">
                  <c:v>41211</c:v>
                </c:pt>
                <c:pt idx="751">
                  <c:v>41212</c:v>
                </c:pt>
                <c:pt idx="752">
                  <c:v>41213</c:v>
                </c:pt>
                <c:pt idx="753">
                  <c:v>41214</c:v>
                </c:pt>
                <c:pt idx="754">
                  <c:v>41215</c:v>
                </c:pt>
                <c:pt idx="755">
                  <c:v>41218</c:v>
                </c:pt>
                <c:pt idx="756">
                  <c:v>41219</c:v>
                </c:pt>
                <c:pt idx="757">
                  <c:v>41220</c:v>
                </c:pt>
                <c:pt idx="758">
                  <c:v>41221</c:v>
                </c:pt>
                <c:pt idx="759">
                  <c:v>41222</c:v>
                </c:pt>
                <c:pt idx="760">
                  <c:v>41225</c:v>
                </c:pt>
                <c:pt idx="761">
                  <c:v>41226</c:v>
                </c:pt>
                <c:pt idx="762">
                  <c:v>41227</c:v>
                </c:pt>
                <c:pt idx="763">
                  <c:v>41228</c:v>
                </c:pt>
                <c:pt idx="764">
                  <c:v>41229</c:v>
                </c:pt>
                <c:pt idx="765">
                  <c:v>41232</c:v>
                </c:pt>
                <c:pt idx="766">
                  <c:v>41233</c:v>
                </c:pt>
                <c:pt idx="767">
                  <c:v>41234</c:v>
                </c:pt>
                <c:pt idx="768">
                  <c:v>41235</c:v>
                </c:pt>
                <c:pt idx="769">
                  <c:v>41236</c:v>
                </c:pt>
                <c:pt idx="770">
                  <c:v>41239</c:v>
                </c:pt>
                <c:pt idx="771">
                  <c:v>41240</c:v>
                </c:pt>
                <c:pt idx="772">
                  <c:v>41241</c:v>
                </c:pt>
                <c:pt idx="773">
                  <c:v>41242</c:v>
                </c:pt>
                <c:pt idx="774">
                  <c:v>41243</c:v>
                </c:pt>
                <c:pt idx="775">
                  <c:v>41246</c:v>
                </c:pt>
                <c:pt idx="776">
                  <c:v>41247</c:v>
                </c:pt>
                <c:pt idx="777">
                  <c:v>41248</c:v>
                </c:pt>
                <c:pt idx="778">
                  <c:v>41249</c:v>
                </c:pt>
                <c:pt idx="779">
                  <c:v>41250</c:v>
                </c:pt>
                <c:pt idx="780">
                  <c:v>41253</c:v>
                </c:pt>
                <c:pt idx="781">
                  <c:v>41254</c:v>
                </c:pt>
                <c:pt idx="782">
                  <c:v>41255</c:v>
                </c:pt>
                <c:pt idx="783">
                  <c:v>41256</c:v>
                </c:pt>
                <c:pt idx="784">
                  <c:v>41257</c:v>
                </c:pt>
                <c:pt idx="785">
                  <c:v>41260</c:v>
                </c:pt>
                <c:pt idx="786">
                  <c:v>41261</c:v>
                </c:pt>
                <c:pt idx="787">
                  <c:v>41262</c:v>
                </c:pt>
                <c:pt idx="788">
                  <c:v>41263</c:v>
                </c:pt>
                <c:pt idx="789">
                  <c:v>41264</c:v>
                </c:pt>
                <c:pt idx="790">
                  <c:v>41267</c:v>
                </c:pt>
                <c:pt idx="791">
                  <c:v>41270</c:v>
                </c:pt>
                <c:pt idx="792">
                  <c:v>41271</c:v>
                </c:pt>
                <c:pt idx="793">
                  <c:v>41274</c:v>
                </c:pt>
                <c:pt idx="794">
                  <c:v>41276</c:v>
                </c:pt>
                <c:pt idx="795">
                  <c:v>41277</c:v>
                </c:pt>
                <c:pt idx="796">
                  <c:v>41278</c:v>
                </c:pt>
                <c:pt idx="797">
                  <c:v>41281</c:v>
                </c:pt>
                <c:pt idx="798">
                  <c:v>41282</c:v>
                </c:pt>
                <c:pt idx="799">
                  <c:v>41283</c:v>
                </c:pt>
                <c:pt idx="800">
                  <c:v>41284</c:v>
                </c:pt>
                <c:pt idx="801">
                  <c:v>41285</c:v>
                </c:pt>
                <c:pt idx="802">
                  <c:v>41288</c:v>
                </c:pt>
                <c:pt idx="803">
                  <c:v>41289</c:v>
                </c:pt>
                <c:pt idx="804">
                  <c:v>41290</c:v>
                </c:pt>
                <c:pt idx="805">
                  <c:v>41291</c:v>
                </c:pt>
                <c:pt idx="806">
                  <c:v>41292</c:v>
                </c:pt>
                <c:pt idx="807">
                  <c:v>41295</c:v>
                </c:pt>
                <c:pt idx="808">
                  <c:v>41296</c:v>
                </c:pt>
                <c:pt idx="809">
                  <c:v>41297</c:v>
                </c:pt>
                <c:pt idx="810">
                  <c:v>41298</c:v>
                </c:pt>
                <c:pt idx="811">
                  <c:v>41299</c:v>
                </c:pt>
                <c:pt idx="812">
                  <c:v>41302</c:v>
                </c:pt>
                <c:pt idx="813">
                  <c:v>41303</c:v>
                </c:pt>
                <c:pt idx="814">
                  <c:v>41304</c:v>
                </c:pt>
                <c:pt idx="815">
                  <c:v>41305</c:v>
                </c:pt>
                <c:pt idx="816">
                  <c:v>41306</c:v>
                </c:pt>
                <c:pt idx="817">
                  <c:v>41309</c:v>
                </c:pt>
                <c:pt idx="818">
                  <c:v>41310</c:v>
                </c:pt>
                <c:pt idx="819">
                  <c:v>41311</c:v>
                </c:pt>
                <c:pt idx="820">
                  <c:v>41312</c:v>
                </c:pt>
                <c:pt idx="821">
                  <c:v>41313</c:v>
                </c:pt>
                <c:pt idx="822">
                  <c:v>41316</c:v>
                </c:pt>
                <c:pt idx="823">
                  <c:v>41317</c:v>
                </c:pt>
                <c:pt idx="824">
                  <c:v>41318</c:v>
                </c:pt>
                <c:pt idx="825">
                  <c:v>41319</c:v>
                </c:pt>
                <c:pt idx="826">
                  <c:v>41320</c:v>
                </c:pt>
                <c:pt idx="827">
                  <c:v>41323</c:v>
                </c:pt>
                <c:pt idx="828">
                  <c:v>41324</c:v>
                </c:pt>
                <c:pt idx="829">
                  <c:v>41325</c:v>
                </c:pt>
                <c:pt idx="830">
                  <c:v>41326</c:v>
                </c:pt>
                <c:pt idx="831">
                  <c:v>41327</c:v>
                </c:pt>
                <c:pt idx="832">
                  <c:v>41330</c:v>
                </c:pt>
                <c:pt idx="833">
                  <c:v>41331</c:v>
                </c:pt>
                <c:pt idx="834">
                  <c:v>41332</c:v>
                </c:pt>
                <c:pt idx="835">
                  <c:v>41333</c:v>
                </c:pt>
                <c:pt idx="836">
                  <c:v>41334</c:v>
                </c:pt>
                <c:pt idx="837">
                  <c:v>41337</c:v>
                </c:pt>
                <c:pt idx="838">
                  <c:v>41338</c:v>
                </c:pt>
                <c:pt idx="839">
                  <c:v>41339</c:v>
                </c:pt>
                <c:pt idx="840">
                  <c:v>41340</c:v>
                </c:pt>
                <c:pt idx="841">
                  <c:v>41341</c:v>
                </c:pt>
                <c:pt idx="842">
                  <c:v>41344</c:v>
                </c:pt>
                <c:pt idx="843">
                  <c:v>41345</c:v>
                </c:pt>
                <c:pt idx="844">
                  <c:v>41346</c:v>
                </c:pt>
                <c:pt idx="845">
                  <c:v>41347</c:v>
                </c:pt>
                <c:pt idx="846">
                  <c:v>41348</c:v>
                </c:pt>
                <c:pt idx="847">
                  <c:v>41351</c:v>
                </c:pt>
                <c:pt idx="848">
                  <c:v>41352</c:v>
                </c:pt>
                <c:pt idx="849">
                  <c:v>41353</c:v>
                </c:pt>
                <c:pt idx="850">
                  <c:v>41354</c:v>
                </c:pt>
                <c:pt idx="851">
                  <c:v>41355</c:v>
                </c:pt>
                <c:pt idx="852">
                  <c:v>41358</c:v>
                </c:pt>
                <c:pt idx="853">
                  <c:v>41359</c:v>
                </c:pt>
                <c:pt idx="854">
                  <c:v>41360</c:v>
                </c:pt>
                <c:pt idx="855">
                  <c:v>41361</c:v>
                </c:pt>
                <c:pt idx="856">
                  <c:v>41366</c:v>
                </c:pt>
                <c:pt idx="857">
                  <c:v>41367</c:v>
                </c:pt>
                <c:pt idx="858">
                  <c:v>41368</c:v>
                </c:pt>
                <c:pt idx="859">
                  <c:v>41369</c:v>
                </c:pt>
                <c:pt idx="860">
                  <c:v>41372</c:v>
                </c:pt>
                <c:pt idx="861">
                  <c:v>41373</c:v>
                </c:pt>
                <c:pt idx="862">
                  <c:v>41374</c:v>
                </c:pt>
                <c:pt idx="863">
                  <c:v>41375</c:v>
                </c:pt>
                <c:pt idx="864">
                  <c:v>41376</c:v>
                </c:pt>
                <c:pt idx="865">
                  <c:v>41379</c:v>
                </c:pt>
                <c:pt idx="866">
                  <c:v>41380</c:v>
                </c:pt>
                <c:pt idx="867">
                  <c:v>41381</c:v>
                </c:pt>
                <c:pt idx="868">
                  <c:v>41382</c:v>
                </c:pt>
                <c:pt idx="869">
                  <c:v>41383</c:v>
                </c:pt>
                <c:pt idx="870">
                  <c:v>41386</c:v>
                </c:pt>
                <c:pt idx="871">
                  <c:v>41387</c:v>
                </c:pt>
                <c:pt idx="872">
                  <c:v>41388</c:v>
                </c:pt>
                <c:pt idx="873">
                  <c:v>41389</c:v>
                </c:pt>
                <c:pt idx="874">
                  <c:v>41390</c:v>
                </c:pt>
                <c:pt idx="875">
                  <c:v>41393</c:v>
                </c:pt>
                <c:pt idx="876">
                  <c:v>41394</c:v>
                </c:pt>
                <c:pt idx="877">
                  <c:v>41395</c:v>
                </c:pt>
                <c:pt idx="878">
                  <c:v>41396</c:v>
                </c:pt>
                <c:pt idx="879">
                  <c:v>41397</c:v>
                </c:pt>
                <c:pt idx="880">
                  <c:v>41400</c:v>
                </c:pt>
                <c:pt idx="881">
                  <c:v>41401</c:v>
                </c:pt>
                <c:pt idx="882">
                  <c:v>41402</c:v>
                </c:pt>
                <c:pt idx="883">
                  <c:v>41403</c:v>
                </c:pt>
                <c:pt idx="884">
                  <c:v>41404</c:v>
                </c:pt>
                <c:pt idx="885">
                  <c:v>41407</c:v>
                </c:pt>
                <c:pt idx="886">
                  <c:v>41408</c:v>
                </c:pt>
                <c:pt idx="887">
                  <c:v>41409</c:v>
                </c:pt>
                <c:pt idx="888">
                  <c:v>41410</c:v>
                </c:pt>
                <c:pt idx="889">
                  <c:v>41411</c:v>
                </c:pt>
                <c:pt idx="890">
                  <c:v>41414</c:v>
                </c:pt>
                <c:pt idx="891">
                  <c:v>41415</c:v>
                </c:pt>
                <c:pt idx="892">
                  <c:v>41416</c:v>
                </c:pt>
                <c:pt idx="893">
                  <c:v>41417</c:v>
                </c:pt>
                <c:pt idx="894">
                  <c:v>41418</c:v>
                </c:pt>
                <c:pt idx="895">
                  <c:v>41421</c:v>
                </c:pt>
                <c:pt idx="896">
                  <c:v>41422</c:v>
                </c:pt>
                <c:pt idx="897">
                  <c:v>41423</c:v>
                </c:pt>
                <c:pt idx="898">
                  <c:v>41424</c:v>
                </c:pt>
                <c:pt idx="899">
                  <c:v>41425</c:v>
                </c:pt>
                <c:pt idx="900">
                  <c:v>41428</c:v>
                </c:pt>
                <c:pt idx="901">
                  <c:v>41429</c:v>
                </c:pt>
                <c:pt idx="902">
                  <c:v>41430</c:v>
                </c:pt>
                <c:pt idx="903">
                  <c:v>41431</c:v>
                </c:pt>
                <c:pt idx="904">
                  <c:v>41432</c:v>
                </c:pt>
                <c:pt idx="905">
                  <c:v>41435</c:v>
                </c:pt>
                <c:pt idx="906">
                  <c:v>41436</c:v>
                </c:pt>
                <c:pt idx="907">
                  <c:v>41437</c:v>
                </c:pt>
                <c:pt idx="908">
                  <c:v>41438</c:v>
                </c:pt>
                <c:pt idx="909">
                  <c:v>41439</c:v>
                </c:pt>
                <c:pt idx="910">
                  <c:v>41442</c:v>
                </c:pt>
                <c:pt idx="911">
                  <c:v>41443</c:v>
                </c:pt>
                <c:pt idx="912">
                  <c:v>41444</c:v>
                </c:pt>
                <c:pt idx="913">
                  <c:v>41445</c:v>
                </c:pt>
                <c:pt idx="914">
                  <c:v>41446</c:v>
                </c:pt>
                <c:pt idx="915">
                  <c:v>41449</c:v>
                </c:pt>
                <c:pt idx="916">
                  <c:v>41450</c:v>
                </c:pt>
                <c:pt idx="917">
                  <c:v>41451</c:v>
                </c:pt>
                <c:pt idx="918">
                  <c:v>41452</c:v>
                </c:pt>
                <c:pt idx="919">
                  <c:v>41453</c:v>
                </c:pt>
                <c:pt idx="920">
                  <c:v>41456</c:v>
                </c:pt>
                <c:pt idx="921">
                  <c:v>41457</c:v>
                </c:pt>
                <c:pt idx="922">
                  <c:v>41458</c:v>
                </c:pt>
                <c:pt idx="923">
                  <c:v>41459</c:v>
                </c:pt>
                <c:pt idx="924">
                  <c:v>41460</c:v>
                </c:pt>
                <c:pt idx="925">
                  <c:v>41463</c:v>
                </c:pt>
                <c:pt idx="926">
                  <c:v>41464</c:v>
                </c:pt>
                <c:pt idx="927">
                  <c:v>41465</c:v>
                </c:pt>
                <c:pt idx="928">
                  <c:v>41466</c:v>
                </c:pt>
                <c:pt idx="929">
                  <c:v>41467</c:v>
                </c:pt>
                <c:pt idx="930">
                  <c:v>41470</c:v>
                </c:pt>
                <c:pt idx="931">
                  <c:v>41471</c:v>
                </c:pt>
                <c:pt idx="932">
                  <c:v>41472</c:v>
                </c:pt>
                <c:pt idx="933">
                  <c:v>41473</c:v>
                </c:pt>
                <c:pt idx="934">
                  <c:v>41474</c:v>
                </c:pt>
                <c:pt idx="935">
                  <c:v>41477</c:v>
                </c:pt>
                <c:pt idx="936">
                  <c:v>41478</c:v>
                </c:pt>
                <c:pt idx="937">
                  <c:v>41479</c:v>
                </c:pt>
                <c:pt idx="938">
                  <c:v>41480</c:v>
                </c:pt>
                <c:pt idx="939">
                  <c:v>41481</c:v>
                </c:pt>
                <c:pt idx="940">
                  <c:v>41484</c:v>
                </c:pt>
                <c:pt idx="941">
                  <c:v>41485</c:v>
                </c:pt>
                <c:pt idx="942">
                  <c:v>41486</c:v>
                </c:pt>
                <c:pt idx="943">
                  <c:v>41487</c:v>
                </c:pt>
                <c:pt idx="944">
                  <c:v>41488</c:v>
                </c:pt>
                <c:pt idx="945">
                  <c:v>41491</c:v>
                </c:pt>
                <c:pt idx="946">
                  <c:v>41492</c:v>
                </c:pt>
                <c:pt idx="947">
                  <c:v>41493</c:v>
                </c:pt>
                <c:pt idx="948">
                  <c:v>41494</c:v>
                </c:pt>
                <c:pt idx="949">
                  <c:v>41495</c:v>
                </c:pt>
                <c:pt idx="950">
                  <c:v>41498</c:v>
                </c:pt>
                <c:pt idx="951">
                  <c:v>41499</c:v>
                </c:pt>
                <c:pt idx="952">
                  <c:v>41500</c:v>
                </c:pt>
                <c:pt idx="953">
                  <c:v>41501</c:v>
                </c:pt>
                <c:pt idx="954">
                  <c:v>41502</c:v>
                </c:pt>
                <c:pt idx="955">
                  <c:v>41505</c:v>
                </c:pt>
                <c:pt idx="956">
                  <c:v>41506</c:v>
                </c:pt>
                <c:pt idx="957">
                  <c:v>41507</c:v>
                </c:pt>
                <c:pt idx="958">
                  <c:v>41508</c:v>
                </c:pt>
                <c:pt idx="959">
                  <c:v>41509</c:v>
                </c:pt>
                <c:pt idx="960">
                  <c:v>41512</c:v>
                </c:pt>
                <c:pt idx="961">
                  <c:v>41513</c:v>
                </c:pt>
                <c:pt idx="962">
                  <c:v>41514</c:v>
                </c:pt>
                <c:pt idx="963">
                  <c:v>41515</c:v>
                </c:pt>
                <c:pt idx="964">
                  <c:v>41516</c:v>
                </c:pt>
                <c:pt idx="965">
                  <c:v>41519</c:v>
                </c:pt>
                <c:pt idx="966">
                  <c:v>41520</c:v>
                </c:pt>
                <c:pt idx="967">
                  <c:v>41521</c:v>
                </c:pt>
                <c:pt idx="968">
                  <c:v>41522</c:v>
                </c:pt>
                <c:pt idx="969">
                  <c:v>41523</c:v>
                </c:pt>
                <c:pt idx="970">
                  <c:v>41526</c:v>
                </c:pt>
                <c:pt idx="971">
                  <c:v>41527</c:v>
                </c:pt>
                <c:pt idx="972">
                  <c:v>41528</c:v>
                </c:pt>
                <c:pt idx="973">
                  <c:v>41529</c:v>
                </c:pt>
                <c:pt idx="974">
                  <c:v>41530</c:v>
                </c:pt>
                <c:pt idx="975">
                  <c:v>41533</c:v>
                </c:pt>
                <c:pt idx="976">
                  <c:v>41534</c:v>
                </c:pt>
                <c:pt idx="977">
                  <c:v>41535</c:v>
                </c:pt>
                <c:pt idx="978">
                  <c:v>41536</c:v>
                </c:pt>
                <c:pt idx="979">
                  <c:v>41537</c:v>
                </c:pt>
                <c:pt idx="980">
                  <c:v>41540</c:v>
                </c:pt>
                <c:pt idx="981">
                  <c:v>41541</c:v>
                </c:pt>
                <c:pt idx="982">
                  <c:v>41542</c:v>
                </c:pt>
                <c:pt idx="983">
                  <c:v>41543</c:v>
                </c:pt>
                <c:pt idx="984">
                  <c:v>41544</c:v>
                </c:pt>
                <c:pt idx="985">
                  <c:v>41547</c:v>
                </c:pt>
                <c:pt idx="986">
                  <c:v>41548</c:v>
                </c:pt>
                <c:pt idx="987">
                  <c:v>41549</c:v>
                </c:pt>
                <c:pt idx="988">
                  <c:v>41550</c:v>
                </c:pt>
                <c:pt idx="989">
                  <c:v>41551</c:v>
                </c:pt>
                <c:pt idx="990">
                  <c:v>41554</c:v>
                </c:pt>
                <c:pt idx="991">
                  <c:v>41555</c:v>
                </c:pt>
                <c:pt idx="992">
                  <c:v>41556</c:v>
                </c:pt>
                <c:pt idx="993">
                  <c:v>41557</c:v>
                </c:pt>
                <c:pt idx="994">
                  <c:v>41558</c:v>
                </c:pt>
                <c:pt idx="995">
                  <c:v>41561</c:v>
                </c:pt>
                <c:pt idx="996">
                  <c:v>41562</c:v>
                </c:pt>
                <c:pt idx="997">
                  <c:v>41563</c:v>
                </c:pt>
                <c:pt idx="998">
                  <c:v>41564</c:v>
                </c:pt>
                <c:pt idx="999">
                  <c:v>41565</c:v>
                </c:pt>
                <c:pt idx="1000">
                  <c:v>41568</c:v>
                </c:pt>
                <c:pt idx="1001">
                  <c:v>41569</c:v>
                </c:pt>
                <c:pt idx="1002">
                  <c:v>41570</c:v>
                </c:pt>
                <c:pt idx="1003">
                  <c:v>41571</c:v>
                </c:pt>
                <c:pt idx="1004">
                  <c:v>41572</c:v>
                </c:pt>
                <c:pt idx="1005">
                  <c:v>41575</c:v>
                </c:pt>
                <c:pt idx="1006">
                  <c:v>41576</c:v>
                </c:pt>
                <c:pt idx="1007">
                  <c:v>41577</c:v>
                </c:pt>
                <c:pt idx="1008">
                  <c:v>41578</c:v>
                </c:pt>
                <c:pt idx="1009">
                  <c:v>41579</c:v>
                </c:pt>
                <c:pt idx="1010">
                  <c:v>41582</c:v>
                </c:pt>
                <c:pt idx="1011">
                  <c:v>41583</c:v>
                </c:pt>
                <c:pt idx="1012">
                  <c:v>41584</c:v>
                </c:pt>
                <c:pt idx="1013">
                  <c:v>41585</c:v>
                </c:pt>
                <c:pt idx="1014">
                  <c:v>41586</c:v>
                </c:pt>
                <c:pt idx="1015">
                  <c:v>41589</c:v>
                </c:pt>
                <c:pt idx="1016">
                  <c:v>41590</c:v>
                </c:pt>
                <c:pt idx="1017">
                  <c:v>41591</c:v>
                </c:pt>
                <c:pt idx="1018">
                  <c:v>41592</c:v>
                </c:pt>
                <c:pt idx="1019">
                  <c:v>41593</c:v>
                </c:pt>
                <c:pt idx="1020">
                  <c:v>41596</c:v>
                </c:pt>
                <c:pt idx="1021">
                  <c:v>41597</c:v>
                </c:pt>
                <c:pt idx="1022">
                  <c:v>41598</c:v>
                </c:pt>
                <c:pt idx="1023">
                  <c:v>41599</c:v>
                </c:pt>
                <c:pt idx="1024">
                  <c:v>41600</c:v>
                </c:pt>
                <c:pt idx="1025">
                  <c:v>41603</c:v>
                </c:pt>
                <c:pt idx="1026">
                  <c:v>41604</c:v>
                </c:pt>
                <c:pt idx="1027">
                  <c:v>41605</c:v>
                </c:pt>
                <c:pt idx="1028">
                  <c:v>41606</c:v>
                </c:pt>
                <c:pt idx="1029">
                  <c:v>41607</c:v>
                </c:pt>
                <c:pt idx="1030">
                  <c:v>41610</c:v>
                </c:pt>
                <c:pt idx="1031">
                  <c:v>41611</c:v>
                </c:pt>
                <c:pt idx="1032">
                  <c:v>41612</c:v>
                </c:pt>
                <c:pt idx="1033">
                  <c:v>41613</c:v>
                </c:pt>
                <c:pt idx="1034">
                  <c:v>41614</c:v>
                </c:pt>
                <c:pt idx="1035">
                  <c:v>41617</c:v>
                </c:pt>
                <c:pt idx="1036">
                  <c:v>41618</c:v>
                </c:pt>
                <c:pt idx="1037">
                  <c:v>41619</c:v>
                </c:pt>
                <c:pt idx="1038">
                  <c:v>41620</c:v>
                </c:pt>
                <c:pt idx="1039">
                  <c:v>41621</c:v>
                </c:pt>
                <c:pt idx="1040">
                  <c:v>41624</c:v>
                </c:pt>
                <c:pt idx="1041">
                  <c:v>41625</c:v>
                </c:pt>
                <c:pt idx="1042">
                  <c:v>41626</c:v>
                </c:pt>
                <c:pt idx="1043">
                  <c:v>41627</c:v>
                </c:pt>
                <c:pt idx="1044">
                  <c:v>41628</c:v>
                </c:pt>
                <c:pt idx="1045">
                  <c:v>41631</c:v>
                </c:pt>
                <c:pt idx="1046">
                  <c:v>41632</c:v>
                </c:pt>
                <c:pt idx="1047">
                  <c:v>41635</c:v>
                </c:pt>
                <c:pt idx="1048">
                  <c:v>41638</c:v>
                </c:pt>
                <c:pt idx="1049">
                  <c:v>41639</c:v>
                </c:pt>
                <c:pt idx="1050">
                  <c:v>41641</c:v>
                </c:pt>
                <c:pt idx="1051">
                  <c:v>41642</c:v>
                </c:pt>
                <c:pt idx="1052">
                  <c:v>41645</c:v>
                </c:pt>
                <c:pt idx="1053">
                  <c:v>41646</c:v>
                </c:pt>
                <c:pt idx="1054">
                  <c:v>41647</c:v>
                </c:pt>
                <c:pt idx="1055">
                  <c:v>41648</c:v>
                </c:pt>
                <c:pt idx="1056">
                  <c:v>41649</c:v>
                </c:pt>
                <c:pt idx="1057">
                  <c:v>41652</c:v>
                </c:pt>
                <c:pt idx="1058">
                  <c:v>41653</c:v>
                </c:pt>
                <c:pt idx="1059">
                  <c:v>41654</c:v>
                </c:pt>
                <c:pt idx="1060">
                  <c:v>41655</c:v>
                </c:pt>
                <c:pt idx="1061">
                  <c:v>41656</c:v>
                </c:pt>
                <c:pt idx="1062">
                  <c:v>41659</c:v>
                </c:pt>
                <c:pt idx="1063">
                  <c:v>41660</c:v>
                </c:pt>
                <c:pt idx="1064">
                  <c:v>41661</c:v>
                </c:pt>
                <c:pt idx="1065">
                  <c:v>41662</c:v>
                </c:pt>
                <c:pt idx="1066">
                  <c:v>41663</c:v>
                </c:pt>
                <c:pt idx="1067">
                  <c:v>41666</c:v>
                </c:pt>
                <c:pt idx="1068">
                  <c:v>41667</c:v>
                </c:pt>
                <c:pt idx="1069">
                  <c:v>41668</c:v>
                </c:pt>
                <c:pt idx="1070">
                  <c:v>41669</c:v>
                </c:pt>
                <c:pt idx="1071">
                  <c:v>41670</c:v>
                </c:pt>
                <c:pt idx="1072">
                  <c:v>41673</c:v>
                </c:pt>
                <c:pt idx="1073">
                  <c:v>41674</c:v>
                </c:pt>
                <c:pt idx="1074">
                  <c:v>41675</c:v>
                </c:pt>
                <c:pt idx="1075">
                  <c:v>41676</c:v>
                </c:pt>
                <c:pt idx="1076">
                  <c:v>41677</c:v>
                </c:pt>
                <c:pt idx="1077">
                  <c:v>41680</c:v>
                </c:pt>
                <c:pt idx="1078">
                  <c:v>41681</c:v>
                </c:pt>
                <c:pt idx="1079">
                  <c:v>41682</c:v>
                </c:pt>
                <c:pt idx="1080">
                  <c:v>41683</c:v>
                </c:pt>
                <c:pt idx="1081">
                  <c:v>41684</c:v>
                </c:pt>
                <c:pt idx="1082">
                  <c:v>41687</c:v>
                </c:pt>
                <c:pt idx="1083">
                  <c:v>41688</c:v>
                </c:pt>
                <c:pt idx="1084">
                  <c:v>41689</c:v>
                </c:pt>
                <c:pt idx="1085">
                  <c:v>41690</c:v>
                </c:pt>
                <c:pt idx="1086">
                  <c:v>41691</c:v>
                </c:pt>
                <c:pt idx="1087">
                  <c:v>41694</c:v>
                </c:pt>
                <c:pt idx="1088">
                  <c:v>41695</c:v>
                </c:pt>
                <c:pt idx="1089">
                  <c:v>41696</c:v>
                </c:pt>
                <c:pt idx="1090">
                  <c:v>41697</c:v>
                </c:pt>
                <c:pt idx="1091">
                  <c:v>41698</c:v>
                </c:pt>
                <c:pt idx="1092">
                  <c:v>41701</c:v>
                </c:pt>
                <c:pt idx="1093">
                  <c:v>41702</c:v>
                </c:pt>
                <c:pt idx="1094">
                  <c:v>41703</c:v>
                </c:pt>
                <c:pt idx="1095">
                  <c:v>41704</c:v>
                </c:pt>
                <c:pt idx="1096">
                  <c:v>41705</c:v>
                </c:pt>
                <c:pt idx="1097">
                  <c:v>41708</c:v>
                </c:pt>
                <c:pt idx="1098">
                  <c:v>41709</c:v>
                </c:pt>
                <c:pt idx="1099">
                  <c:v>41710</c:v>
                </c:pt>
                <c:pt idx="1100">
                  <c:v>41711</c:v>
                </c:pt>
                <c:pt idx="1101">
                  <c:v>41712</c:v>
                </c:pt>
                <c:pt idx="1102">
                  <c:v>41715</c:v>
                </c:pt>
                <c:pt idx="1103">
                  <c:v>41716</c:v>
                </c:pt>
                <c:pt idx="1104">
                  <c:v>41717</c:v>
                </c:pt>
                <c:pt idx="1105">
                  <c:v>41718</c:v>
                </c:pt>
                <c:pt idx="1106">
                  <c:v>41719</c:v>
                </c:pt>
                <c:pt idx="1107">
                  <c:v>41722</c:v>
                </c:pt>
                <c:pt idx="1108">
                  <c:v>41723</c:v>
                </c:pt>
                <c:pt idx="1109">
                  <c:v>41724</c:v>
                </c:pt>
                <c:pt idx="1110">
                  <c:v>41725</c:v>
                </c:pt>
                <c:pt idx="1111">
                  <c:v>41726</c:v>
                </c:pt>
                <c:pt idx="1112">
                  <c:v>41729</c:v>
                </c:pt>
                <c:pt idx="1113">
                  <c:v>41730</c:v>
                </c:pt>
                <c:pt idx="1114">
                  <c:v>41731</c:v>
                </c:pt>
                <c:pt idx="1115">
                  <c:v>41732</c:v>
                </c:pt>
                <c:pt idx="1116">
                  <c:v>41733</c:v>
                </c:pt>
                <c:pt idx="1117">
                  <c:v>41736</c:v>
                </c:pt>
                <c:pt idx="1118">
                  <c:v>41737</c:v>
                </c:pt>
                <c:pt idx="1119">
                  <c:v>41738</c:v>
                </c:pt>
                <c:pt idx="1120">
                  <c:v>41739</c:v>
                </c:pt>
                <c:pt idx="1121">
                  <c:v>41740</c:v>
                </c:pt>
                <c:pt idx="1122">
                  <c:v>41743</c:v>
                </c:pt>
                <c:pt idx="1123">
                  <c:v>41744</c:v>
                </c:pt>
                <c:pt idx="1124">
                  <c:v>41745</c:v>
                </c:pt>
                <c:pt idx="1125">
                  <c:v>41746</c:v>
                </c:pt>
                <c:pt idx="1126">
                  <c:v>41751</c:v>
                </c:pt>
                <c:pt idx="1127">
                  <c:v>41752</c:v>
                </c:pt>
                <c:pt idx="1128">
                  <c:v>41753</c:v>
                </c:pt>
                <c:pt idx="1129">
                  <c:v>41754</c:v>
                </c:pt>
                <c:pt idx="1130">
                  <c:v>41757</c:v>
                </c:pt>
                <c:pt idx="1131">
                  <c:v>41758</c:v>
                </c:pt>
                <c:pt idx="1132">
                  <c:v>41759</c:v>
                </c:pt>
                <c:pt idx="1133">
                  <c:v>41760</c:v>
                </c:pt>
                <c:pt idx="1134">
                  <c:v>41761</c:v>
                </c:pt>
                <c:pt idx="1135">
                  <c:v>41764</c:v>
                </c:pt>
                <c:pt idx="1136">
                  <c:v>41765</c:v>
                </c:pt>
                <c:pt idx="1137">
                  <c:v>41766</c:v>
                </c:pt>
                <c:pt idx="1138">
                  <c:v>41767</c:v>
                </c:pt>
                <c:pt idx="1139">
                  <c:v>41768</c:v>
                </c:pt>
                <c:pt idx="1140">
                  <c:v>41771</c:v>
                </c:pt>
                <c:pt idx="1141">
                  <c:v>41772</c:v>
                </c:pt>
                <c:pt idx="1142">
                  <c:v>41773</c:v>
                </c:pt>
                <c:pt idx="1143">
                  <c:v>41774</c:v>
                </c:pt>
                <c:pt idx="1144">
                  <c:v>41775</c:v>
                </c:pt>
                <c:pt idx="1145">
                  <c:v>41778</c:v>
                </c:pt>
                <c:pt idx="1146">
                  <c:v>41779</c:v>
                </c:pt>
                <c:pt idx="1147">
                  <c:v>41780</c:v>
                </c:pt>
                <c:pt idx="1148">
                  <c:v>41781</c:v>
                </c:pt>
                <c:pt idx="1149">
                  <c:v>41782</c:v>
                </c:pt>
                <c:pt idx="1150">
                  <c:v>41785</c:v>
                </c:pt>
                <c:pt idx="1151">
                  <c:v>41786</c:v>
                </c:pt>
                <c:pt idx="1152">
                  <c:v>41787</c:v>
                </c:pt>
                <c:pt idx="1153">
                  <c:v>41788</c:v>
                </c:pt>
                <c:pt idx="1154">
                  <c:v>41789</c:v>
                </c:pt>
                <c:pt idx="1155">
                  <c:v>41792</c:v>
                </c:pt>
                <c:pt idx="1156">
                  <c:v>41793</c:v>
                </c:pt>
                <c:pt idx="1157">
                  <c:v>41794</c:v>
                </c:pt>
                <c:pt idx="1158">
                  <c:v>41795</c:v>
                </c:pt>
                <c:pt idx="1159">
                  <c:v>41796</c:v>
                </c:pt>
                <c:pt idx="1160">
                  <c:v>41799</c:v>
                </c:pt>
                <c:pt idx="1161">
                  <c:v>41800</c:v>
                </c:pt>
                <c:pt idx="1162">
                  <c:v>41801</c:v>
                </c:pt>
                <c:pt idx="1163">
                  <c:v>41802</c:v>
                </c:pt>
                <c:pt idx="1164">
                  <c:v>41803</c:v>
                </c:pt>
                <c:pt idx="1165">
                  <c:v>41806</c:v>
                </c:pt>
                <c:pt idx="1166">
                  <c:v>41807</c:v>
                </c:pt>
                <c:pt idx="1167">
                  <c:v>41808</c:v>
                </c:pt>
                <c:pt idx="1168">
                  <c:v>41809</c:v>
                </c:pt>
                <c:pt idx="1169">
                  <c:v>41810</c:v>
                </c:pt>
                <c:pt idx="1170">
                  <c:v>41813</c:v>
                </c:pt>
                <c:pt idx="1171">
                  <c:v>41814</c:v>
                </c:pt>
                <c:pt idx="1172">
                  <c:v>41815</c:v>
                </c:pt>
                <c:pt idx="1173">
                  <c:v>41816</c:v>
                </c:pt>
                <c:pt idx="1174">
                  <c:v>41817</c:v>
                </c:pt>
                <c:pt idx="1175">
                  <c:v>41820</c:v>
                </c:pt>
                <c:pt idx="1176">
                  <c:v>41821</c:v>
                </c:pt>
                <c:pt idx="1177">
                  <c:v>41822</c:v>
                </c:pt>
                <c:pt idx="1178">
                  <c:v>41823</c:v>
                </c:pt>
                <c:pt idx="1179">
                  <c:v>41824</c:v>
                </c:pt>
                <c:pt idx="1180">
                  <c:v>41827</c:v>
                </c:pt>
                <c:pt idx="1181">
                  <c:v>41828</c:v>
                </c:pt>
                <c:pt idx="1182">
                  <c:v>41829</c:v>
                </c:pt>
                <c:pt idx="1183">
                  <c:v>41830</c:v>
                </c:pt>
                <c:pt idx="1184">
                  <c:v>41831</c:v>
                </c:pt>
                <c:pt idx="1185">
                  <c:v>41834</c:v>
                </c:pt>
                <c:pt idx="1186">
                  <c:v>41835</c:v>
                </c:pt>
                <c:pt idx="1187">
                  <c:v>41836</c:v>
                </c:pt>
                <c:pt idx="1188">
                  <c:v>41837</c:v>
                </c:pt>
                <c:pt idx="1189">
                  <c:v>41838</c:v>
                </c:pt>
                <c:pt idx="1190">
                  <c:v>41841</c:v>
                </c:pt>
                <c:pt idx="1191">
                  <c:v>41842</c:v>
                </c:pt>
                <c:pt idx="1192">
                  <c:v>41843</c:v>
                </c:pt>
                <c:pt idx="1193">
                  <c:v>41844</c:v>
                </c:pt>
                <c:pt idx="1194">
                  <c:v>41845</c:v>
                </c:pt>
                <c:pt idx="1195">
                  <c:v>41848</c:v>
                </c:pt>
                <c:pt idx="1196">
                  <c:v>41849</c:v>
                </c:pt>
                <c:pt idx="1197">
                  <c:v>41850</c:v>
                </c:pt>
                <c:pt idx="1198">
                  <c:v>41851</c:v>
                </c:pt>
                <c:pt idx="1199">
                  <c:v>41852</c:v>
                </c:pt>
                <c:pt idx="1200">
                  <c:v>41855</c:v>
                </c:pt>
                <c:pt idx="1201">
                  <c:v>41856</c:v>
                </c:pt>
                <c:pt idx="1202">
                  <c:v>41857</c:v>
                </c:pt>
                <c:pt idx="1203">
                  <c:v>41858</c:v>
                </c:pt>
                <c:pt idx="1204">
                  <c:v>41859</c:v>
                </c:pt>
                <c:pt idx="1205">
                  <c:v>41862</c:v>
                </c:pt>
                <c:pt idx="1206">
                  <c:v>41863</c:v>
                </c:pt>
                <c:pt idx="1207">
                  <c:v>41864</c:v>
                </c:pt>
                <c:pt idx="1208">
                  <c:v>41865</c:v>
                </c:pt>
                <c:pt idx="1209">
                  <c:v>41866</c:v>
                </c:pt>
                <c:pt idx="1210">
                  <c:v>41869</c:v>
                </c:pt>
                <c:pt idx="1211">
                  <c:v>41870</c:v>
                </c:pt>
                <c:pt idx="1212">
                  <c:v>41871</c:v>
                </c:pt>
                <c:pt idx="1213">
                  <c:v>41872</c:v>
                </c:pt>
                <c:pt idx="1214">
                  <c:v>41873</c:v>
                </c:pt>
                <c:pt idx="1215">
                  <c:v>41876</c:v>
                </c:pt>
                <c:pt idx="1216">
                  <c:v>41877</c:v>
                </c:pt>
                <c:pt idx="1217">
                  <c:v>41878</c:v>
                </c:pt>
                <c:pt idx="1218">
                  <c:v>41879</c:v>
                </c:pt>
                <c:pt idx="1219">
                  <c:v>41880</c:v>
                </c:pt>
                <c:pt idx="1220">
                  <c:v>41883</c:v>
                </c:pt>
                <c:pt idx="1221">
                  <c:v>41884</c:v>
                </c:pt>
                <c:pt idx="1222">
                  <c:v>41885</c:v>
                </c:pt>
                <c:pt idx="1223">
                  <c:v>41886</c:v>
                </c:pt>
                <c:pt idx="1224">
                  <c:v>41887</c:v>
                </c:pt>
                <c:pt idx="1225">
                  <c:v>41890</c:v>
                </c:pt>
                <c:pt idx="1226">
                  <c:v>41891</c:v>
                </c:pt>
                <c:pt idx="1227">
                  <c:v>41892</c:v>
                </c:pt>
                <c:pt idx="1228">
                  <c:v>41893</c:v>
                </c:pt>
                <c:pt idx="1229">
                  <c:v>41894</c:v>
                </c:pt>
                <c:pt idx="1230">
                  <c:v>41897</c:v>
                </c:pt>
                <c:pt idx="1231">
                  <c:v>41898</c:v>
                </c:pt>
                <c:pt idx="1232">
                  <c:v>41899</c:v>
                </c:pt>
                <c:pt idx="1233">
                  <c:v>41900</c:v>
                </c:pt>
                <c:pt idx="1234">
                  <c:v>41901</c:v>
                </c:pt>
                <c:pt idx="1235">
                  <c:v>41904</c:v>
                </c:pt>
                <c:pt idx="1236">
                  <c:v>41905</c:v>
                </c:pt>
                <c:pt idx="1237">
                  <c:v>41906</c:v>
                </c:pt>
                <c:pt idx="1238">
                  <c:v>41907</c:v>
                </c:pt>
                <c:pt idx="1239">
                  <c:v>41908</c:v>
                </c:pt>
                <c:pt idx="1240">
                  <c:v>41911</c:v>
                </c:pt>
                <c:pt idx="1241">
                  <c:v>41912</c:v>
                </c:pt>
                <c:pt idx="1242">
                  <c:v>41913</c:v>
                </c:pt>
                <c:pt idx="1243">
                  <c:v>41914</c:v>
                </c:pt>
                <c:pt idx="1244">
                  <c:v>41915</c:v>
                </c:pt>
                <c:pt idx="1245">
                  <c:v>41918</c:v>
                </c:pt>
              </c:numCache>
            </c:numRef>
          </c:cat>
          <c:val>
            <c:numRef>
              <c:f>Sheet1!$B$2:$B$1247</c:f>
              <c:numCache>
                <c:formatCode>General</c:formatCode>
                <c:ptCount val="1246"/>
                <c:pt idx="0">
                  <c:v>100</c:v>
                </c:pt>
                <c:pt idx="1">
                  <c:v>100.54847761139816</c:v>
                </c:pt>
                <c:pt idx="2">
                  <c:v>100.75824305549249</c:v>
                </c:pt>
                <c:pt idx="3">
                  <c:v>101.72625155507933</c:v>
                </c:pt>
                <c:pt idx="4">
                  <c:v>101.3784586326199</c:v>
                </c:pt>
                <c:pt idx="5">
                  <c:v>99.773889196625589</c:v>
                </c:pt>
                <c:pt idx="6">
                  <c:v>98.115743305213272</c:v>
                </c:pt>
                <c:pt idx="7">
                  <c:v>98.998392706337455</c:v>
                </c:pt>
                <c:pt idx="8">
                  <c:v>99.117350598875802</c:v>
                </c:pt>
                <c:pt idx="9">
                  <c:v>99.918273203599611</c:v>
                </c:pt>
                <c:pt idx="10">
                  <c:v>99.757543837345509</c:v>
                </c:pt>
                <c:pt idx="11">
                  <c:v>101.27402994833051</c:v>
                </c:pt>
                <c:pt idx="12">
                  <c:v>100.19796046239206</c:v>
                </c:pt>
                <c:pt idx="13">
                  <c:v>99.308954532658916</c:v>
                </c:pt>
                <c:pt idx="14">
                  <c:v>100.92805317690218</c:v>
                </c:pt>
                <c:pt idx="15">
                  <c:v>101.78527646359072</c:v>
                </c:pt>
                <c:pt idx="16">
                  <c:v>102.12398863089453</c:v>
                </c:pt>
                <c:pt idx="17">
                  <c:v>102.16848433115698</c:v>
                </c:pt>
                <c:pt idx="18">
                  <c:v>102.57166986006555</c:v>
                </c:pt>
                <c:pt idx="19">
                  <c:v>103.19733389028632</c:v>
                </c:pt>
                <c:pt idx="20">
                  <c:v>102.62161401342134</c:v>
                </c:pt>
                <c:pt idx="21">
                  <c:v>102.53443876392762</c:v>
                </c:pt>
                <c:pt idx="22">
                  <c:v>104.95718423944133</c:v>
                </c:pt>
                <c:pt idx="23">
                  <c:v>105.77172797689856</c:v>
                </c:pt>
                <c:pt idx="24">
                  <c:v>106.06866867048663</c:v>
                </c:pt>
                <c:pt idx="25">
                  <c:v>106.0132760640375</c:v>
                </c:pt>
                <c:pt idx="26">
                  <c:v>106.67072273730285</c:v>
                </c:pt>
                <c:pt idx="27">
                  <c:v>106.8904770120683</c:v>
                </c:pt>
                <c:pt idx="28">
                  <c:v>104.92721774742787</c:v>
                </c:pt>
                <c:pt idx="29">
                  <c:v>105.38942818484784</c:v>
                </c:pt>
                <c:pt idx="30">
                  <c:v>106.3383670986079</c:v>
                </c:pt>
                <c:pt idx="31">
                  <c:v>105.08249866058861</c:v>
                </c:pt>
                <c:pt idx="32">
                  <c:v>105.5674109858976</c:v>
                </c:pt>
                <c:pt idx="33">
                  <c:v>106.5835474878091</c:v>
                </c:pt>
                <c:pt idx="34">
                  <c:v>104.31063447236272</c:v>
                </c:pt>
                <c:pt idx="35">
                  <c:v>102.638867448217</c:v>
                </c:pt>
                <c:pt idx="36">
                  <c:v>101.71444657337703</c:v>
                </c:pt>
                <c:pt idx="37">
                  <c:v>101.13327824341873</c:v>
                </c:pt>
                <c:pt idx="38">
                  <c:v>101.38572323674437</c:v>
                </c:pt>
                <c:pt idx="39">
                  <c:v>100.37412711241065</c:v>
                </c:pt>
                <c:pt idx="40">
                  <c:v>98.939367797826065</c:v>
                </c:pt>
                <c:pt idx="41">
                  <c:v>100.28876801394804</c:v>
                </c:pt>
                <c:pt idx="42">
                  <c:v>101.01795265294263</c:v>
                </c:pt>
                <c:pt idx="43">
                  <c:v>102.22296886209057</c:v>
                </c:pt>
                <c:pt idx="44">
                  <c:v>101.3466759895753</c:v>
                </c:pt>
                <c:pt idx="45">
                  <c:v>97.620842149233127</c:v>
                </c:pt>
                <c:pt idx="46">
                  <c:v>95.49776159385415</c:v>
                </c:pt>
                <c:pt idx="47">
                  <c:v>95.543165369632149</c:v>
                </c:pt>
                <c:pt idx="48">
                  <c:v>96.35952525812047</c:v>
                </c:pt>
                <c:pt idx="49">
                  <c:v>97.767950382753838</c:v>
                </c:pt>
                <c:pt idx="50">
                  <c:v>97.400179798952067</c:v>
                </c:pt>
                <c:pt idx="51">
                  <c:v>96.714582784704376</c:v>
                </c:pt>
                <c:pt idx="52">
                  <c:v>96.998810421074623</c:v>
                </c:pt>
                <c:pt idx="53">
                  <c:v>98.479881586952771</c:v>
                </c:pt>
                <c:pt idx="54">
                  <c:v>99.775705347656711</c:v>
                </c:pt>
                <c:pt idx="55">
                  <c:v>100.62748018125187</c:v>
                </c:pt>
                <c:pt idx="56">
                  <c:v>101.18776277435231</c:v>
                </c:pt>
                <c:pt idx="57">
                  <c:v>100.72010388383899</c:v>
                </c:pt>
                <c:pt idx="58">
                  <c:v>98.900320550656986</c:v>
                </c:pt>
                <c:pt idx="59">
                  <c:v>98.625173669442347</c:v>
                </c:pt>
                <c:pt idx="60">
                  <c:v>97.111411785004037</c:v>
                </c:pt>
                <c:pt idx="61">
                  <c:v>98.794983790852058</c:v>
                </c:pt>
                <c:pt idx="62">
                  <c:v>99.94097509148861</c:v>
                </c:pt>
                <c:pt idx="63">
                  <c:v>100.81091143539498</c:v>
                </c:pt>
                <c:pt idx="64">
                  <c:v>101.93238469711142</c:v>
                </c:pt>
                <c:pt idx="65">
                  <c:v>101.84702559864877</c:v>
                </c:pt>
                <c:pt idx="66">
                  <c:v>103.25817494982881</c:v>
                </c:pt>
                <c:pt idx="67">
                  <c:v>103.80937678777367</c:v>
                </c:pt>
                <c:pt idx="68">
                  <c:v>104.04547642181923</c:v>
                </c:pt>
                <c:pt idx="69">
                  <c:v>105.41213007273684</c:v>
                </c:pt>
                <c:pt idx="70">
                  <c:v>104.92812582294344</c:v>
                </c:pt>
                <c:pt idx="71">
                  <c:v>105.55197370213305</c:v>
                </c:pt>
                <c:pt idx="72">
                  <c:v>104.28611643344261</c:v>
                </c:pt>
                <c:pt idx="73">
                  <c:v>105.12517820981992</c:v>
                </c:pt>
                <c:pt idx="74">
                  <c:v>106.20578807333617</c:v>
                </c:pt>
                <c:pt idx="75">
                  <c:v>105.53472026733743</c:v>
                </c:pt>
                <c:pt idx="76">
                  <c:v>104.84004249793412</c:v>
                </c:pt>
                <c:pt idx="77">
                  <c:v>104.52948067161265</c:v>
                </c:pt>
                <c:pt idx="78">
                  <c:v>105.63914895162681</c:v>
                </c:pt>
                <c:pt idx="79">
                  <c:v>105.18965157142468</c:v>
                </c:pt>
                <c:pt idx="80">
                  <c:v>106.37287396819922</c:v>
                </c:pt>
                <c:pt idx="81">
                  <c:v>106.26662913287871</c:v>
                </c:pt>
                <c:pt idx="82">
                  <c:v>106.61896243291591</c:v>
                </c:pt>
                <c:pt idx="83">
                  <c:v>106.39103547851039</c:v>
                </c:pt>
                <c:pt idx="84">
                  <c:v>106.20487999782063</c:v>
                </c:pt>
                <c:pt idx="85">
                  <c:v>107.61784550003178</c:v>
                </c:pt>
                <c:pt idx="86">
                  <c:v>108.30162636324839</c:v>
                </c:pt>
                <c:pt idx="87">
                  <c:v>108.05008944543827</c:v>
                </c:pt>
                <c:pt idx="88">
                  <c:v>106.96857150640646</c:v>
                </c:pt>
                <c:pt idx="89">
                  <c:v>108.7829063864951</c:v>
                </c:pt>
                <c:pt idx="90">
                  <c:v>109.18699999091925</c:v>
                </c:pt>
                <c:pt idx="91">
                  <c:v>108.83557476639758</c:v>
                </c:pt>
                <c:pt idx="92">
                  <c:v>109.6019905015301</c:v>
                </c:pt>
                <c:pt idx="93">
                  <c:v>109.88440198686922</c:v>
                </c:pt>
                <c:pt idx="94">
                  <c:v>108.50140297667153</c:v>
                </c:pt>
                <c:pt idx="95">
                  <c:v>108.09458514570069</c:v>
                </c:pt>
                <c:pt idx="96">
                  <c:v>109.27871561799081</c:v>
                </c:pt>
                <c:pt idx="97">
                  <c:v>108.57314094240078</c:v>
                </c:pt>
                <c:pt idx="98">
                  <c:v>107.0902536254915</c:v>
                </c:pt>
                <c:pt idx="99">
                  <c:v>107.84940475649955</c:v>
                </c:pt>
                <c:pt idx="100">
                  <c:v>108.20446228308344</c:v>
                </c:pt>
                <c:pt idx="101">
                  <c:v>104.69929079302234</c:v>
                </c:pt>
                <c:pt idx="102">
                  <c:v>102.88404783741815</c:v>
                </c:pt>
                <c:pt idx="103">
                  <c:v>104.6983827175068</c:v>
                </c:pt>
                <c:pt idx="104">
                  <c:v>104.86183631030757</c:v>
                </c:pt>
                <c:pt idx="105">
                  <c:v>105.23233112065597</c:v>
                </c:pt>
                <c:pt idx="106">
                  <c:v>101.95417850948485</c:v>
                </c:pt>
                <c:pt idx="107">
                  <c:v>100.11986596805389</c:v>
                </c:pt>
                <c:pt idx="108">
                  <c:v>98.006774243346072</c:v>
                </c:pt>
                <c:pt idx="109">
                  <c:v>94.484349318489322</c:v>
                </c:pt>
                <c:pt idx="110">
                  <c:v>102.22115271105945</c:v>
                </c:pt>
                <c:pt idx="111">
                  <c:v>101.26131689111266</c:v>
                </c:pt>
                <c:pt idx="112">
                  <c:v>103.07565177120128</c:v>
                </c:pt>
                <c:pt idx="113">
                  <c:v>103.36351170963376</c:v>
                </c:pt>
                <c:pt idx="114">
                  <c:v>99.270815361005432</c:v>
                </c:pt>
                <c:pt idx="115">
                  <c:v>98.743223486465141</c:v>
                </c:pt>
                <c:pt idx="116">
                  <c:v>100.67288395702987</c:v>
                </c:pt>
                <c:pt idx="117">
                  <c:v>97.9995096392216</c:v>
                </c:pt>
                <c:pt idx="118">
                  <c:v>96.196979740835246</c:v>
                </c:pt>
                <c:pt idx="119">
                  <c:v>96.422182468694089</c:v>
                </c:pt>
                <c:pt idx="120">
                  <c:v>96.193347438773003</c:v>
                </c:pt>
                <c:pt idx="121">
                  <c:v>93.438246324564361</c:v>
                </c:pt>
                <c:pt idx="122">
                  <c:v>94.961088964158265</c:v>
                </c:pt>
                <c:pt idx="123">
                  <c:v>97.698028568055733</c:v>
                </c:pt>
                <c:pt idx="124">
                  <c:v>97.783387666518337</c:v>
                </c:pt>
                <c:pt idx="125">
                  <c:v>97.638095584028775</c:v>
                </c:pt>
                <c:pt idx="126">
                  <c:v>97.486446972930267</c:v>
                </c:pt>
                <c:pt idx="127">
                  <c:v>97.447399725761187</c:v>
                </c:pt>
                <c:pt idx="128">
                  <c:v>98.549803401650877</c:v>
                </c:pt>
                <c:pt idx="129">
                  <c:v>96.18063438155518</c:v>
                </c:pt>
                <c:pt idx="130">
                  <c:v>95.24894890259074</c:v>
                </c:pt>
                <c:pt idx="131">
                  <c:v>94.172879416652279</c:v>
                </c:pt>
                <c:pt idx="132">
                  <c:v>95.967236635398592</c:v>
                </c:pt>
                <c:pt idx="133">
                  <c:v>97.977715826848168</c:v>
                </c:pt>
                <c:pt idx="134">
                  <c:v>99.133695958155883</c:v>
                </c:pt>
                <c:pt idx="135">
                  <c:v>100.54575338485148</c:v>
                </c:pt>
                <c:pt idx="136">
                  <c:v>101.8579225048355</c:v>
                </c:pt>
                <c:pt idx="137">
                  <c:v>101.9078666581913</c:v>
                </c:pt>
                <c:pt idx="138">
                  <c:v>102.00957111593398</c:v>
                </c:pt>
                <c:pt idx="139">
                  <c:v>102.99846535237872</c:v>
                </c:pt>
                <c:pt idx="140">
                  <c:v>103.69586734832869</c:v>
                </c:pt>
                <c:pt idx="141">
                  <c:v>103.06929524259236</c:v>
                </c:pt>
                <c:pt idx="142">
                  <c:v>101.81070257802641</c:v>
                </c:pt>
                <c:pt idx="143">
                  <c:v>99.882858258492774</c:v>
                </c:pt>
                <c:pt idx="144">
                  <c:v>99.504190768504301</c:v>
                </c:pt>
                <c:pt idx="145">
                  <c:v>100.81363566194166</c:v>
                </c:pt>
                <c:pt idx="146">
                  <c:v>97.315728776005017</c:v>
                </c:pt>
                <c:pt idx="147">
                  <c:v>97.448307801276769</c:v>
                </c:pt>
                <c:pt idx="148">
                  <c:v>95.985398145709794</c:v>
                </c:pt>
                <c:pt idx="149">
                  <c:v>96.151575965057248</c:v>
                </c:pt>
                <c:pt idx="150">
                  <c:v>95.889142141060461</c:v>
                </c:pt>
                <c:pt idx="151">
                  <c:v>98.150250174804526</c:v>
                </c:pt>
                <c:pt idx="152">
                  <c:v>99.641310171353851</c:v>
                </c:pt>
                <c:pt idx="153">
                  <c:v>100.44677315365547</c:v>
                </c:pt>
                <c:pt idx="154">
                  <c:v>100.64927399362531</c:v>
                </c:pt>
                <c:pt idx="155">
                  <c:v>100.82725679467504</c:v>
                </c:pt>
                <c:pt idx="156">
                  <c:v>102.59891212553237</c:v>
                </c:pt>
                <c:pt idx="157">
                  <c:v>102.64159167476367</c:v>
                </c:pt>
                <c:pt idx="158">
                  <c:v>101.62545517285217</c:v>
                </c:pt>
                <c:pt idx="159">
                  <c:v>99.762992290438859</c:v>
                </c:pt>
                <c:pt idx="160">
                  <c:v>99.357082534983618</c:v>
                </c:pt>
                <c:pt idx="161">
                  <c:v>99.325299891939011</c:v>
                </c:pt>
                <c:pt idx="162">
                  <c:v>100.13711940284955</c:v>
                </c:pt>
                <c:pt idx="163">
                  <c:v>102.84772481679576</c:v>
                </c:pt>
                <c:pt idx="164">
                  <c:v>103.15828664311724</c:v>
                </c:pt>
                <c:pt idx="165">
                  <c:v>103.80574448571144</c:v>
                </c:pt>
                <c:pt idx="166">
                  <c:v>104.87818166958765</c:v>
                </c:pt>
                <c:pt idx="167">
                  <c:v>104.55036640847052</c:v>
                </c:pt>
                <c:pt idx="168">
                  <c:v>104.83550212035632</c:v>
                </c:pt>
                <c:pt idx="169">
                  <c:v>104.13265167131298</c:v>
                </c:pt>
                <c:pt idx="170">
                  <c:v>106.60897360224475</c:v>
                </c:pt>
                <c:pt idx="171">
                  <c:v>106.44461193392843</c:v>
                </c:pt>
                <c:pt idx="172">
                  <c:v>106.94223731645525</c:v>
                </c:pt>
                <c:pt idx="173">
                  <c:v>106.56811020404456</c:v>
                </c:pt>
                <c:pt idx="174">
                  <c:v>105.21961806343816</c:v>
                </c:pt>
                <c:pt idx="175">
                  <c:v>106.74609300509429</c:v>
                </c:pt>
                <c:pt idx="176">
                  <c:v>105.77081990138299</c:v>
                </c:pt>
                <c:pt idx="177">
                  <c:v>103.20369041889523</c:v>
                </c:pt>
                <c:pt idx="178">
                  <c:v>103.10380211218366</c:v>
                </c:pt>
                <c:pt idx="179">
                  <c:v>103.04931758125005</c:v>
                </c:pt>
                <c:pt idx="180">
                  <c:v>102.84772481679576</c:v>
                </c:pt>
                <c:pt idx="181">
                  <c:v>104.29610526411375</c:v>
                </c:pt>
                <c:pt idx="182">
                  <c:v>104.06182178109933</c:v>
                </c:pt>
                <c:pt idx="183">
                  <c:v>102.36735286906458</c:v>
                </c:pt>
                <c:pt idx="184">
                  <c:v>101.23225847461474</c:v>
                </c:pt>
                <c:pt idx="185">
                  <c:v>102.00593881387175</c:v>
                </c:pt>
                <c:pt idx="186">
                  <c:v>100.20522506651652</c:v>
                </c:pt>
                <c:pt idx="187">
                  <c:v>99.452430464117398</c:v>
                </c:pt>
                <c:pt idx="188">
                  <c:v>100.12077404356945</c:v>
                </c:pt>
                <c:pt idx="189">
                  <c:v>101.25859266456598</c:v>
                </c:pt>
                <c:pt idx="190">
                  <c:v>100.94349046066671</c:v>
                </c:pt>
                <c:pt idx="191">
                  <c:v>101.36029712230869</c:v>
                </c:pt>
                <c:pt idx="192">
                  <c:v>103.91198932103194</c:v>
                </c:pt>
                <c:pt idx="193">
                  <c:v>103.84933211045831</c:v>
                </c:pt>
                <c:pt idx="194">
                  <c:v>104.61393169455972</c:v>
                </c:pt>
                <c:pt idx="195">
                  <c:v>104.94083888016128</c:v>
                </c:pt>
                <c:pt idx="196">
                  <c:v>103.86840169628506</c:v>
                </c:pt>
                <c:pt idx="197">
                  <c:v>104.55309063501718</c:v>
                </c:pt>
                <c:pt idx="198">
                  <c:v>105.57013521244426</c:v>
                </c:pt>
                <c:pt idx="199">
                  <c:v>105.47115498124823</c:v>
                </c:pt>
                <c:pt idx="200">
                  <c:v>106.47276227491078</c:v>
                </c:pt>
                <c:pt idx="201">
                  <c:v>106.40919698882159</c:v>
                </c:pt>
                <c:pt idx="202">
                  <c:v>106.10953206868683</c:v>
                </c:pt>
                <c:pt idx="203">
                  <c:v>105.75901491968071</c:v>
                </c:pt>
                <c:pt idx="204">
                  <c:v>105.01893337449941</c:v>
                </c:pt>
                <c:pt idx="205">
                  <c:v>106.29750370040772</c:v>
                </c:pt>
                <c:pt idx="206">
                  <c:v>106.29296332282992</c:v>
                </c:pt>
                <c:pt idx="207">
                  <c:v>105.1233620587888</c:v>
                </c:pt>
                <c:pt idx="208">
                  <c:v>104.48135266928797</c:v>
                </c:pt>
                <c:pt idx="209">
                  <c:v>105.86798398154788</c:v>
                </c:pt>
                <c:pt idx="210">
                  <c:v>105.56831906141315</c:v>
                </c:pt>
                <c:pt idx="211">
                  <c:v>105.79442986478756</c:v>
                </c:pt>
                <c:pt idx="212">
                  <c:v>105.42302697892356</c:v>
                </c:pt>
                <c:pt idx="213">
                  <c:v>105.06887752785521</c:v>
                </c:pt>
                <c:pt idx="214">
                  <c:v>104.77647721184493</c:v>
                </c:pt>
                <c:pt idx="215">
                  <c:v>104.13265167131298</c:v>
                </c:pt>
                <c:pt idx="216">
                  <c:v>105.512926454964</c:v>
                </c:pt>
                <c:pt idx="217">
                  <c:v>106.3256540413901</c:v>
                </c:pt>
                <c:pt idx="218">
                  <c:v>106.36379321304359</c:v>
                </c:pt>
                <c:pt idx="219">
                  <c:v>106.02689719677088</c:v>
                </c:pt>
                <c:pt idx="220">
                  <c:v>106.14767124034034</c:v>
                </c:pt>
                <c:pt idx="221">
                  <c:v>105.57467559002205</c:v>
                </c:pt>
                <c:pt idx="222">
                  <c:v>107.27368487963457</c:v>
                </c:pt>
                <c:pt idx="223">
                  <c:v>107.10115053167821</c:v>
                </c:pt>
                <c:pt idx="224">
                  <c:v>107.25915567138564</c:v>
                </c:pt>
                <c:pt idx="225">
                  <c:v>107.51069258919573</c:v>
                </c:pt>
                <c:pt idx="226">
                  <c:v>107.33725016572377</c:v>
                </c:pt>
                <c:pt idx="227">
                  <c:v>107.94021230805555</c:v>
                </c:pt>
                <c:pt idx="228">
                  <c:v>109.14704466823461</c:v>
                </c:pt>
                <c:pt idx="229">
                  <c:v>108.91094503418903</c:v>
                </c:pt>
                <c:pt idx="230">
                  <c:v>108.88733507078447</c:v>
                </c:pt>
                <c:pt idx="231">
                  <c:v>108.67302924911235</c:v>
                </c:pt>
                <c:pt idx="232">
                  <c:v>108.10003359879407</c:v>
                </c:pt>
                <c:pt idx="233">
                  <c:v>108.85918472980211</c:v>
                </c:pt>
                <c:pt idx="234">
                  <c:v>108.80015982129075</c:v>
                </c:pt>
                <c:pt idx="235">
                  <c:v>108.72842185556151</c:v>
                </c:pt>
                <c:pt idx="236">
                  <c:v>109.56294325436102</c:v>
                </c:pt>
                <c:pt idx="237">
                  <c:v>108.94454382826476</c:v>
                </c:pt>
                <c:pt idx="238">
                  <c:v>110.34207204671141</c:v>
                </c:pt>
                <c:pt idx="239">
                  <c:v>109.91800078094494</c:v>
                </c:pt>
                <c:pt idx="240">
                  <c:v>109.43581268218266</c:v>
                </c:pt>
                <c:pt idx="241">
                  <c:v>110.43923612687632</c:v>
                </c:pt>
                <c:pt idx="242">
                  <c:v>109.27417524041299</c:v>
                </c:pt>
                <c:pt idx="243">
                  <c:v>108.34067361041744</c:v>
                </c:pt>
                <c:pt idx="244">
                  <c:v>108.56042788518292</c:v>
                </c:pt>
                <c:pt idx="245">
                  <c:v>109.54205751750314</c:v>
                </c:pt>
                <c:pt idx="246">
                  <c:v>107.38628624356402</c:v>
                </c:pt>
                <c:pt idx="247">
                  <c:v>107.95020113872668</c:v>
                </c:pt>
                <c:pt idx="248">
                  <c:v>109.53025253580088</c:v>
                </c:pt>
                <c:pt idx="249">
                  <c:v>109.22241493602607</c:v>
                </c:pt>
                <c:pt idx="250">
                  <c:v>108.32705247768403</c:v>
                </c:pt>
                <c:pt idx="251">
                  <c:v>106.09046248286008</c:v>
                </c:pt>
                <c:pt idx="252">
                  <c:v>106.961306902282</c:v>
                </c:pt>
                <c:pt idx="253">
                  <c:v>107.30909982474142</c:v>
                </c:pt>
                <c:pt idx="254">
                  <c:v>106.60080092260473</c:v>
                </c:pt>
                <c:pt idx="255">
                  <c:v>104.53220489815934</c:v>
                </c:pt>
                <c:pt idx="256">
                  <c:v>103.90290856587634</c:v>
                </c:pt>
                <c:pt idx="257">
                  <c:v>106.2275818857096</c:v>
                </c:pt>
                <c:pt idx="258">
                  <c:v>108.08005593745176</c:v>
                </c:pt>
                <c:pt idx="259">
                  <c:v>108.07642363538952</c:v>
                </c:pt>
                <c:pt idx="260">
                  <c:v>107.67868655957429</c:v>
                </c:pt>
                <c:pt idx="261">
                  <c:v>108.7783660089173</c:v>
                </c:pt>
                <c:pt idx="262">
                  <c:v>109.24057644633727</c:v>
                </c:pt>
                <c:pt idx="263">
                  <c:v>109.89711504408706</c:v>
                </c:pt>
                <c:pt idx="264">
                  <c:v>109.45579034352495</c:v>
                </c:pt>
                <c:pt idx="265">
                  <c:v>109.8262851538734</c:v>
                </c:pt>
                <c:pt idx="266">
                  <c:v>110.16045694359941</c:v>
                </c:pt>
                <c:pt idx="267">
                  <c:v>109.52752830925421</c:v>
                </c:pt>
                <c:pt idx="268">
                  <c:v>109.86624047655805</c:v>
                </c:pt>
                <c:pt idx="269">
                  <c:v>108.83375861536646</c:v>
                </c:pt>
                <c:pt idx="270">
                  <c:v>109.68734959999273</c:v>
                </c:pt>
                <c:pt idx="271">
                  <c:v>110.58180398281921</c:v>
                </c:pt>
                <c:pt idx="272">
                  <c:v>110.6362885137528</c:v>
                </c:pt>
                <c:pt idx="273">
                  <c:v>110.55002133977463</c:v>
                </c:pt>
                <c:pt idx="274">
                  <c:v>110.34388819774253</c:v>
                </c:pt>
                <c:pt idx="275">
                  <c:v>109.50755064791188</c:v>
                </c:pt>
                <c:pt idx="276">
                  <c:v>109.60653087910789</c:v>
                </c:pt>
                <c:pt idx="277">
                  <c:v>110.08054629823016</c:v>
                </c:pt>
                <c:pt idx="278">
                  <c:v>109.1089054965811</c:v>
                </c:pt>
                <c:pt idx="279">
                  <c:v>108.67030502256567</c:v>
                </c:pt>
                <c:pt idx="280">
                  <c:v>110.07146554307457</c:v>
                </c:pt>
                <c:pt idx="281">
                  <c:v>110.23491913587536</c:v>
                </c:pt>
                <c:pt idx="282">
                  <c:v>109.52389600719195</c:v>
                </c:pt>
                <c:pt idx="283">
                  <c:v>109.76544409433089</c:v>
                </c:pt>
                <c:pt idx="284">
                  <c:v>109.06895017389647</c:v>
                </c:pt>
                <c:pt idx="285">
                  <c:v>107.32635325953707</c:v>
                </c:pt>
                <c:pt idx="286">
                  <c:v>108.12636778874531</c:v>
                </c:pt>
                <c:pt idx="287">
                  <c:v>110.56091824596133</c:v>
                </c:pt>
                <c:pt idx="288">
                  <c:v>111.15389155762192</c:v>
                </c:pt>
                <c:pt idx="289">
                  <c:v>111.44719994914776</c:v>
                </c:pt>
                <c:pt idx="290">
                  <c:v>110.9105273194519</c:v>
                </c:pt>
                <c:pt idx="291">
                  <c:v>112.11735967963097</c:v>
                </c:pt>
                <c:pt idx="292">
                  <c:v>111.49532795147243</c:v>
                </c:pt>
                <c:pt idx="293">
                  <c:v>111.44265957156998</c:v>
                </c:pt>
                <c:pt idx="294">
                  <c:v>113.17617573077376</c:v>
                </c:pt>
                <c:pt idx="295">
                  <c:v>113.4694841222996</c:v>
                </c:pt>
                <c:pt idx="296">
                  <c:v>112.58320241911318</c:v>
                </c:pt>
                <c:pt idx="297">
                  <c:v>112.82021012867432</c:v>
                </c:pt>
                <c:pt idx="298">
                  <c:v>113.4994506143131</c:v>
                </c:pt>
                <c:pt idx="299">
                  <c:v>112.81022129800313</c:v>
                </c:pt>
                <c:pt idx="300">
                  <c:v>113.00454945833296</c:v>
                </c:pt>
                <c:pt idx="301">
                  <c:v>114.73988176856787</c:v>
                </c:pt>
                <c:pt idx="302">
                  <c:v>114.39390499713954</c:v>
                </c:pt>
                <c:pt idx="303">
                  <c:v>113.61750043133587</c:v>
                </c:pt>
                <c:pt idx="304">
                  <c:v>114.17142649582739</c:v>
                </c:pt>
                <c:pt idx="305">
                  <c:v>114.98506215776905</c:v>
                </c:pt>
                <c:pt idx="306">
                  <c:v>115.27019786965485</c:v>
                </c:pt>
                <c:pt idx="307">
                  <c:v>115.23659907557912</c:v>
                </c:pt>
                <c:pt idx="308">
                  <c:v>115.0495355193738</c:v>
                </c:pt>
                <c:pt idx="309">
                  <c:v>115.29471590857496</c:v>
                </c:pt>
                <c:pt idx="310">
                  <c:v>115.08676661551173</c:v>
                </c:pt>
                <c:pt idx="311">
                  <c:v>114.91241611652426</c:v>
                </c:pt>
                <c:pt idx="312">
                  <c:v>115.92219608982681</c:v>
                </c:pt>
                <c:pt idx="313">
                  <c:v>115.79506551764844</c:v>
                </c:pt>
                <c:pt idx="314">
                  <c:v>116.22912561408607</c:v>
                </c:pt>
                <c:pt idx="315">
                  <c:v>114.29401669042798</c:v>
                </c:pt>
                <c:pt idx="316">
                  <c:v>113.59752276999356</c:v>
                </c:pt>
                <c:pt idx="317">
                  <c:v>112.62406581731337</c:v>
                </c:pt>
                <c:pt idx="318">
                  <c:v>112.05197824251066</c:v>
                </c:pt>
                <c:pt idx="319">
                  <c:v>112.97367489080389</c:v>
                </c:pt>
                <c:pt idx="320">
                  <c:v>113.75098753212318</c:v>
                </c:pt>
                <c:pt idx="321">
                  <c:v>113.25881060268972</c:v>
                </c:pt>
                <c:pt idx="322">
                  <c:v>112.34982701161429</c:v>
                </c:pt>
                <c:pt idx="323">
                  <c:v>112.43518611007693</c:v>
                </c:pt>
                <c:pt idx="324">
                  <c:v>111.89124887625654</c:v>
                </c:pt>
                <c:pt idx="325">
                  <c:v>111.71599030175349</c:v>
                </c:pt>
                <c:pt idx="326">
                  <c:v>112.20816723118693</c:v>
                </c:pt>
                <c:pt idx="327">
                  <c:v>112.18546534329796</c:v>
                </c:pt>
                <c:pt idx="328">
                  <c:v>111.22108914577336</c:v>
                </c:pt>
                <c:pt idx="329">
                  <c:v>110.11868546988369</c:v>
                </c:pt>
                <c:pt idx="330">
                  <c:v>108.74658336587271</c:v>
                </c:pt>
                <c:pt idx="331">
                  <c:v>106.70613768240966</c:v>
                </c:pt>
                <c:pt idx="332">
                  <c:v>104.97534574975253</c:v>
                </c:pt>
                <c:pt idx="333">
                  <c:v>107.05029830280685</c:v>
                </c:pt>
                <c:pt idx="334">
                  <c:v>107.03576909455789</c:v>
                </c:pt>
                <c:pt idx="335">
                  <c:v>109.53751713992534</c:v>
                </c:pt>
                <c:pt idx="336">
                  <c:v>109.4912052886318</c:v>
                </c:pt>
                <c:pt idx="337">
                  <c:v>110.00971640801649</c:v>
                </c:pt>
                <c:pt idx="338">
                  <c:v>111.04764672230144</c:v>
                </c:pt>
                <c:pt idx="339">
                  <c:v>111.13573004731072</c:v>
                </c:pt>
                <c:pt idx="340">
                  <c:v>111.3990719468231</c:v>
                </c:pt>
                <c:pt idx="341">
                  <c:v>111.42449806125876</c:v>
                </c:pt>
                <c:pt idx="342">
                  <c:v>112.42065690182794</c:v>
                </c:pt>
                <c:pt idx="343">
                  <c:v>111.74323256722028</c:v>
                </c:pt>
                <c:pt idx="344">
                  <c:v>113.24064909237852</c:v>
                </c:pt>
                <c:pt idx="345">
                  <c:v>113.2524540740808</c:v>
                </c:pt>
                <c:pt idx="346">
                  <c:v>113.2297521861918</c:v>
                </c:pt>
                <c:pt idx="347">
                  <c:v>113.854508140897</c:v>
                </c:pt>
                <c:pt idx="348">
                  <c:v>113.69196262361179</c:v>
                </c:pt>
                <c:pt idx="349">
                  <c:v>114.61184312087394</c:v>
                </c:pt>
                <c:pt idx="350">
                  <c:v>114.63000463118512</c:v>
                </c:pt>
                <c:pt idx="351">
                  <c:v>113.29150132124985</c:v>
                </c:pt>
                <c:pt idx="352">
                  <c:v>114.22954332882323</c:v>
                </c:pt>
                <c:pt idx="353">
                  <c:v>113.20432607175614</c:v>
                </c:pt>
                <c:pt idx="354">
                  <c:v>113.12623157741797</c:v>
                </c:pt>
                <c:pt idx="355">
                  <c:v>110.7715917655712</c:v>
                </c:pt>
                <c:pt idx="356">
                  <c:v>111.05400325091036</c:v>
                </c:pt>
                <c:pt idx="357">
                  <c:v>112.93644379466596</c:v>
                </c:pt>
                <c:pt idx="358">
                  <c:v>112.9264549639948</c:v>
                </c:pt>
                <c:pt idx="359">
                  <c:v>113.5221525022021</c:v>
                </c:pt>
                <c:pt idx="360">
                  <c:v>114.17324264685851</c:v>
                </c:pt>
                <c:pt idx="361">
                  <c:v>115.48995214442033</c:v>
                </c:pt>
                <c:pt idx="362">
                  <c:v>115.80596242383517</c:v>
                </c:pt>
                <c:pt idx="363">
                  <c:v>115.95397873287143</c:v>
                </c:pt>
                <c:pt idx="364">
                  <c:v>115.76055864805717</c:v>
                </c:pt>
                <c:pt idx="365">
                  <c:v>114.55009398581586</c:v>
                </c:pt>
                <c:pt idx="366">
                  <c:v>113.96620142931087</c:v>
                </c:pt>
                <c:pt idx="367">
                  <c:v>114.94601491059994</c:v>
                </c:pt>
                <c:pt idx="368">
                  <c:v>113.63929424370932</c:v>
                </c:pt>
                <c:pt idx="369">
                  <c:v>114.59277353504717</c:v>
                </c:pt>
                <c:pt idx="370">
                  <c:v>115.16576918536545</c:v>
                </c:pt>
                <c:pt idx="371">
                  <c:v>114.38119193992171</c:v>
                </c:pt>
                <c:pt idx="372">
                  <c:v>113.78549440171443</c:v>
                </c:pt>
                <c:pt idx="373">
                  <c:v>113.28968517021876</c:v>
                </c:pt>
                <c:pt idx="374">
                  <c:v>112.18818956984462</c:v>
                </c:pt>
                <c:pt idx="375">
                  <c:v>112.6594807624202</c:v>
                </c:pt>
                <c:pt idx="376">
                  <c:v>113.52124442668654</c:v>
                </c:pt>
                <c:pt idx="377">
                  <c:v>112.76209329567845</c:v>
                </c:pt>
                <c:pt idx="378">
                  <c:v>110.93686150940312</c:v>
                </c:pt>
                <c:pt idx="379">
                  <c:v>111.01495600374128</c:v>
                </c:pt>
                <c:pt idx="380">
                  <c:v>111.64697656257094</c:v>
                </c:pt>
                <c:pt idx="381">
                  <c:v>111.19203072927544</c:v>
                </c:pt>
                <c:pt idx="382">
                  <c:v>111.83585626980739</c:v>
                </c:pt>
                <c:pt idx="383">
                  <c:v>111.49169564941019</c:v>
                </c:pt>
                <c:pt idx="384">
                  <c:v>113.11170236916901</c:v>
                </c:pt>
                <c:pt idx="385">
                  <c:v>112.13642926545772</c:v>
                </c:pt>
                <c:pt idx="386">
                  <c:v>110.7670513879934</c:v>
                </c:pt>
                <c:pt idx="387">
                  <c:v>110.59633319106817</c:v>
                </c:pt>
                <c:pt idx="388">
                  <c:v>109.5565867257521</c:v>
                </c:pt>
                <c:pt idx="389">
                  <c:v>110.10415626163473</c:v>
                </c:pt>
                <c:pt idx="390">
                  <c:v>109.11435394967444</c:v>
                </c:pt>
                <c:pt idx="391">
                  <c:v>110.12050162091481</c:v>
                </c:pt>
                <c:pt idx="392">
                  <c:v>108.4478265212535</c:v>
                </c:pt>
                <c:pt idx="393">
                  <c:v>108.70027151457916</c:v>
                </c:pt>
                <c:pt idx="394">
                  <c:v>109.97520953842522</c:v>
                </c:pt>
                <c:pt idx="395">
                  <c:v>108.25531451195482</c:v>
                </c:pt>
                <c:pt idx="396">
                  <c:v>107.65416852065417</c:v>
                </c:pt>
                <c:pt idx="397">
                  <c:v>108.99539605713611</c:v>
                </c:pt>
                <c:pt idx="398">
                  <c:v>107.97562725316237</c:v>
                </c:pt>
                <c:pt idx="399">
                  <c:v>109.9352542157406</c:v>
                </c:pt>
                <c:pt idx="400">
                  <c:v>109.70187880824169</c:v>
                </c:pt>
                <c:pt idx="401">
                  <c:v>107.65144429410749</c:v>
                </c:pt>
                <c:pt idx="402">
                  <c:v>106.88321240794384</c:v>
                </c:pt>
                <c:pt idx="403">
                  <c:v>107.00217030048218</c:v>
                </c:pt>
                <c:pt idx="404">
                  <c:v>107.5542802139426</c:v>
                </c:pt>
                <c:pt idx="405">
                  <c:v>109.50119411930295</c:v>
                </c:pt>
                <c:pt idx="406">
                  <c:v>111.49169564941019</c:v>
                </c:pt>
                <c:pt idx="407">
                  <c:v>112.66129691345132</c:v>
                </c:pt>
                <c:pt idx="408">
                  <c:v>112.43155380801468</c:v>
                </c:pt>
                <c:pt idx="409">
                  <c:v>111.6388038829309</c:v>
                </c:pt>
                <c:pt idx="410">
                  <c:v>110.464662241312</c:v>
                </c:pt>
                <c:pt idx="411">
                  <c:v>111.17659344551092</c:v>
                </c:pt>
                <c:pt idx="412">
                  <c:v>109.08438745766098</c:v>
                </c:pt>
                <c:pt idx="413">
                  <c:v>106.15584391998038</c:v>
                </c:pt>
                <c:pt idx="414">
                  <c:v>105.25503300854497</c:v>
                </c:pt>
                <c:pt idx="415">
                  <c:v>106.0468748581132</c:v>
                </c:pt>
                <c:pt idx="416">
                  <c:v>105.33585172942981</c:v>
                </c:pt>
                <c:pt idx="417">
                  <c:v>104.40507432598093</c:v>
                </c:pt>
                <c:pt idx="418">
                  <c:v>102.5298983863498</c:v>
                </c:pt>
                <c:pt idx="419">
                  <c:v>103.96193347438771</c:v>
                </c:pt>
                <c:pt idx="420">
                  <c:v>106.1939830916339</c:v>
                </c:pt>
                <c:pt idx="421">
                  <c:v>108.55861173415182</c:v>
                </c:pt>
                <c:pt idx="422">
                  <c:v>109.39313313295133</c:v>
                </c:pt>
                <c:pt idx="423">
                  <c:v>108.34521398799527</c:v>
                </c:pt>
                <c:pt idx="424">
                  <c:v>108.20446228308344</c:v>
                </c:pt>
                <c:pt idx="425">
                  <c:v>106.43189887671059</c:v>
                </c:pt>
                <c:pt idx="426">
                  <c:v>106.21396075297622</c:v>
                </c:pt>
                <c:pt idx="427">
                  <c:v>105.81622367716099</c:v>
                </c:pt>
                <c:pt idx="428">
                  <c:v>102.75328496317752</c:v>
                </c:pt>
                <c:pt idx="429">
                  <c:v>101.08515024109406</c:v>
                </c:pt>
                <c:pt idx="430">
                  <c:v>99.289884946832188</c:v>
                </c:pt>
                <c:pt idx="431">
                  <c:v>96.414917864569617</c:v>
                </c:pt>
                <c:pt idx="432">
                  <c:v>95.111829499741205</c:v>
                </c:pt>
                <c:pt idx="433">
                  <c:v>92.192366717216203</c:v>
                </c:pt>
                <c:pt idx="434">
                  <c:v>92.34764763037694</c:v>
                </c:pt>
                <c:pt idx="435">
                  <c:v>88.115107652352378</c:v>
                </c:pt>
                <c:pt idx="436">
                  <c:v>90.364410704394174</c:v>
                </c:pt>
                <c:pt idx="437">
                  <c:v>93.73881932021466</c:v>
                </c:pt>
                <c:pt idx="438">
                  <c:v>94.941111302815941</c:v>
                </c:pt>
                <c:pt idx="439">
                  <c:v>93.781498869445983</c:v>
                </c:pt>
                <c:pt idx="440">
                  <c:v>94.209202437274683</c:v>
                </c:pt>
                <c:pt idx="441">
                  <c:v>89.815025017480451</c:v>
                </c:pt>
                <c:pt idx="442">
                  <c:v>88.1732244853482</c:v>
                </c:pt>
                <c:pt idx="443">
                  <c:v>89.345549975935995</c:v>
                </c:pt>
                <c:pt idx="444">
                  <c:v>90.191876356437803</c:v>
                </c:pt>
                <c:pt idx="445">
                  <c:v>91.728340128765112</c:v>
                </c:pt>
                <c:pt idx="446">
                  <c:v>90.911072164761222</c:v>
                </c:pt>
                <c:pt idx="447">
                  <c:v>89.855888415680639</c:v>
                </c:pt>
                <c:pt idx="448">
                  <c:v>92.065236145037815</c:v>
                </c:pt>
                <c:pt idx="449">
                  <c:v>92.008027387557547</c:v>
                </c:pt>
                <c:pt idx="450">
                  <c:v>94.239168929288155</c:v>
                </c:pt>
                <c:pt idx="451">
                  <c:v>94.508867357409443</c:v>
                </c:pt>
                <c:pt idx="452">
                  <c:v>92.010751614104223</c:v>
                </c:pt>
                <c:pt idx="453">
                  <c:v>88.386622231504774</c:v>
                </c:pt>
                <c:pt idx="454">
                  <c:v>87.461293281149253</c:v>
                </c:pt>
                <c:pt idx="455">
                  <c:v>89.765080864124656</c:v>
                </c:pt>
                <c:pt idx="456">
                  <c:v>90.384388365736498</c:v>
                </c:pt>
                <c:pt idx="457">
                  <c:v>87.155271832405575</c:v>
                </c:pt>
                <c:pt idx="458">
                  <c:v>84.062366626408661</c:v>
                </c:pt>
                <c:pt idx="459">
                  <c:v>85.224703286325294</c:v>
                </c:pt>
                <c:pt idx="460">
                  <c:v>87.243355157414896</c:v>
                </c:pt>
                <c:pt idx="461">
                  <c:v>89.840451131916126</c:v>
                </c:pt>
                <c:pt idx="462">
                  <c:v>90.256349718042543</c:v>
                </c:pt>
                <c:pt idx="463">
                  <c:v>88.250410904170792</c:v>
                </c:pt>
                <c:pt idx="464">
                  <c:v>89.8023119602626</c:v>
                </c:pt>
                <c:pt idx="465">
                  <c:v>88.493775142340837</c:v>
                </c:pt>
                <c:pt idx="466">
                  <c:v>84.751595942718595</c:v>
                </c:pt>
                <c:pt idx="467">
                  <c:v>84.939567574439494</c:v>
                </c:pt>
                <c:pt idx="468">
                  <c:v>86.939149859702326</c:v>
                </c:pt>
                <c:pt idx="469">
                  <c:v>91.000971640801637</c:v>
                </c:pt>
                <c:pt idx="470">
                  <c:v>90.654086793857772</c:v>
                </c:pt>
                <c:pt idx="471">
                  <c:v>92.008027387557547</c:v>
                </c:pt>
                <c:pt idx="472">
                  <c:v>91.09450341890431</c:v>
                </c:pt>
                <c:pt idx="473">
                  <c:v>89.503555115643422</c:v>
                </c:pt>
                <c:pt idx="474">
                  <c:v>87.866294961088968</c:v>
                </c:pt>
                <c:pt idx="475">
                  <c:v>91.254324709642859</c:v>
                </c:pt>
                <c:pt idx="476">
                  <c:v>94.122935263296498</c:v>
                </c:pt>
                <c:pt idx="477">
                  <c:v>94.685034007428058</c:v>
                </c:pt>
                <c:pt idx="478">
                  <c:v>96.384951372556145</c:v>
                </c:pt>
                <c:pt idx="479">
                  <c:v>95.906395575856095</c:v>
                </c:pt>
                <c:pt idx="480">
                  <c:v>97.815170309562944</c:v>
                </c:pt>
                <c:pt idx="481">
                  <c:v>96.594716816650475</c:v>
                </c:pt>
                <c:pt idx="482">
                  <c:v>97.589967581704101</c:v>
                </c:pt>
                <c:pt idx="483">
                  <c:v>96.113436793403736</c:v>
                </c:pt>
                <c:pt idx="484">
                  <c:v>95.669387866294954</c:v>
                </c:pt>
                <c:pt idx="485">
                  <c:v>96.391307901165064</c:v>
                </c:pt>
                <c:pt idx="486">
                  <c:v>93.938595933637842</c:v>
                </c:pt>
                <c:pt idx="487">
                  <c:v>96.241475441097663</c:v>
                </c:pt>
                <c:pt idx="488">
                  <c:v>97.237634281666857</c:v>
                </c:pt>
                <c:pt idx="489">
                  <c:v>96.170645550884004</c:v>
                </c:pt>
                <c:pt idx="490">
                  <c:v>96.090734905514751</c:v>
                </c:pt>
                <c:pt idx="491">
                  <c:v>100.5112465152602</c:v>
                </c:pt>
                <c:pt idx="492">
                  <c:v>99.406118612823846</c:v>
                </c:pt>
                <c:pt idx="493">
                  <c:v>96.80266610971367</c:v>
                </c:pt>
                <c:pt idx="494">
                  <c:v>92.304968081145617</c:v>
                </c:pt>
                <c:pt idx="495">
                  <c:v>93.243918164234529</c:v>
                </c:pt>
                <c:pt idx="496">
                  <c:v>95.716607793104075</c:v>
                </c:pt>
                <c:pt idx="497">
                  <c:v>94.09024454473635</c:v>
                </c:pt>
                <c:pt idx="498">
                  <c:v>93.926790951935558</c:v>
                </c:pt>
                <c:pt idx="499">
                  <c:v>94.488889696067119</c:v>
                </c:pt>
                <c:pt idx="500">
                  <c:v>92.195090943762878</c:v>
                </c:pt>
                <c:pt idx="501">
                  <c:v>92.670014438400699</c:v>
                </c:pt>
                <c:pt idx="502">
                  <c:v>95.519555406227582</c:v>
                </c:pt>
                <c:pt idx="503">
                  <c:v>94.216467041399156</c:v>
                </c:pt>
                <c:pt idx="504">
                  <c:v>92.844364937388193</c:v>
                </c:pt>
                <c:pt idx="505">
                  <c:v>93.217583974283286</c:v>
                </c:pt>
                <c:pt idx="506">
                  <c:v>92.013475840650898</c:v>
                </c:pt>
                <c:pt idx="507">
                  <c:v>92.0316373509621</c:v>
                </c:pt>
                <c:pt idx="508">
                  <c:v>89.019550865849993</c:v>
                </c:pt>
                <c:pt idx="509">
                  <c:v>88.330321549540059</c:v>
                </c:pt>
                <c:pt idx="510">
                  <c:v>86.90010261253326</c:v>
                </c:pt>
                <c:pt idx="511">
                  <c:v>86.579551955540623</c:v>
                </c:pt>
                <c:pt idx="512">
                  <c:v>87.343243464126473</c:v>
                </c:pt>
                <c:pt idx="513">
                  <c:v>91.548541176684253</c:v>
                </c:pt>
                <c:pt idx="514">
                  <c:v>92.431190577808451</c:v>
                </c:pt>
                <c:pt idx="515">
                  <c:v>96.291419594453487</c:v>
                </c:pt>
                <c:pt idx="516">
                  <c:v>95.551338049272175</c:v>
                </c:pt>
                <c:pt idx="517">
                  <c:v>96.440343979005291</c:v>
                </c:pt>
                <c:pt idx="518">
                  <c:v>97.651716716762152</c:v>
                </c:pt>
                <c:pt idx="519">
                  <c:v>97.023328459994744</c:v>
                </c:pt>
                <c:pt idx="520">
                  <c:v>96.690064745784255</c:v>
                </c:pt>
                <c:pt idx="521">
                  <c:v>95.090943762883327</c:v>
                </c:pt>
                <c:pt idx="522">
                  <c:v>96.907094794003086</c:v>
                </c:pt>
                <c:pt idx="523">
                  <c:v>94.319079574657437</c:v>
                </c:pt>
                <c:pt idx="524">
                  <c:v>93.700680148561148</c:v>
                </c:pt>
                <c:pt idx="525">
                  <c:v>91.842757643725648</c:v>
                </c:pt>
                <c:pt idx="526">
                  <c:v>92.756281612378885</c:v>
                </c:pt>
                <c:pt idx="527">
                  <c:v>92.682727495618536</c:v>
                </c:pt>
                <c:pt idx="528">
                  <c:v>92.795328859547951</c:v>
                </c:pt>
                <c:pt idx="529">
                  <c:v>94.644170609227857</c:v>
                </c:pt>
                <c:pt idx="530">
                  <c:v>93.884111402704264</c:v>
                </c:pt>
                <c:pt idx="531">
                  <c:v>94.977434323438331</c:v>
                </c:pt>
                <c:pt idx="532">
                  <c:v>95.722964321712993</c:v>
                </c:pt>
                <c:pt idx="533">
                  <c:v>95.76746002197541</c:v>
                </c:pt>
                <c:pt idx="534">
                  <c:v>94.560627661796346</c:v>
                </c:pt>
                <c:pt idx="535">
                  <c:v>95.503210046947501</c:v>
                </c:pt>
                <c:pt idx="536">
                  <c:v>96.576555306339273</c:v>
                </c:pt>
                <c:pt idx="537">
                  <c:v>98.447190868392624</c:v>
                </c:pt>
                <c:pt idx="538">
                  <c:v>99.149133241920381</c:v>
                </c:pt>
                <c:pt idx="539">
                  <c:v>97.484630821899145</c:v>
                </c:pt>
                <c:pt idx="540">
                  <c:v>95.686641301090603</c:v>
                </c:pt>
                <c:pt idx="541">
                  <c:v>95.184475540985986</c:v>
                </c:pt>
                <c:pt idx="542">
                  <c:v>94.719540877019327</c:v>
                </c:pt>
                <c:pt idx="543">
                  <c:v>96.776331919762441</c:v>
                </c:pt>
                <c:pt idx="544">
                  <c:v>96.354076805027105</c:v>
                </c:pt>
                <c:pt idx="545">
                  <c:v>96.408561335960712</c:v>
                </c:pt>
                <c:pt idx="546">
                  <c:v>96.058044186954589</c:v>
                </c:pt>
                <c:pt idx="547">
                  <c:v>96.647385196552932</c:v>
                </c:pt>
                <c:pt idx="548">
                  <c:v>97.654440943308856</c:v>
                </c:pt>
                <c:pt idx="549">
                  <c:v>97.160447862844279</c:v>
                </c:pt>
                <c:pt idx="550">
                  <c:v>98.572505289539876</c:v>
                </c:pt>
                <c:pt idx="551">
                  <c:v>98.336405655494318</c:v>
                </c:pt>
                <c:pt idx="552">
                  <c:v>98.605196008100023</c:v>
                </c:pt>
                <c:pt idx="553">
                  <c:v>97.734351588678109</c:v>
                </c:pt>
                <c:pt idx="554">
                  <c:v>97.75069694795819</c:v>
                </c:pt>
                <c:pt idx="555">
                  <c:v>99.379784422872603</c:v>
                </c:pt>
                <c:pt idx="556">
                  <c:v>98.749580015074059</c:v>
                </c:pt>
                <c:pt idx="557">
                  <c:v>97.713465851820231</c:v>
                </c:pt>
                <c:pt idx="558">
                  <c:v>98.250138481516132</c:v>
                </c:pt>
                <c:pt idx="559">
                  <c:v>100.28695186291692</c:v>
                </c:pt>
                <c:pt idx="560">
                  <c:v>99.915548977052921</c:v>
                </c:pt>
                <c:pt idx="561">
                  <c:v>100.79365800059934</c:v>
                </c:pt>
                <c:pt idx="562">
                  <c:v>100.82090026606612</c:v>
                </c:pt>
                <c:pt idx="563">
                  <c:v>100.97799733025798</c:v>
                </c:pt>
                <c:pt idx="564">
                  <c:v>100.71283927971449</c:v>
                </c:pt>
                <c:pt idx="565">
                  <c:v>100.61839942609627</c:v>
                </c:pt>
                <c:pt idx="566">
                  <c:v>99.335288722610187</c:v>
                </c:pt>
                <c:pt idx="567">
                  <c:v>99.954596224222001</c:v>
                </c:pt>
                <c:pt idx="568">
                  <c:v>99.914640901537368</c:v>
                </c:pt>
                <c:pt idx="569">
                  <c:v>100.23337540749888</c:v>
                </c:pt>
                <c:pt idx="570">
                  <c:v>99.702151230896362</c:v>
                </c:pt>
                <c:pt idx="571">
                  <c:v>100.92896125241775</c:v>
                </c:pt>
                <c:pt idx="572">
                  <c:v>102.02773262624518</c:v>
                </c:pt>
                <c:pt idx="573">
                  <c:v>101.4411158431935</c:v>
                </c:pt>
                <c:pt idx="574">
                  <c:v>100.5294080255714</c:v>
                </c:pt>
                <c:pt idx="575">
                  <c:v>99.901019768803977</c:v>
                </c:pt>
                <c:pt idx="576">
                  <c:v>100.64745784259419</c:v>
                </c:pt>
                <c:pt idx="577">
                  <c:v>100.5820764054739</c:v>
                </c:pt>
                <c:pt idx="578">
                  <c:v>100.25970959745013</c:v>
                </c:pt>
                <c:pt idx="579">
                  <c:v>100.27333073018352</c:v>
                </c:pt>
                <c:pt idx="580">
                  <c:v>100.7718641882259</c:v>
                </c:pt>
                <c:pt idx="581">
                  <c:v>100.38048364101959</c:v>
                </c:pt>
                <c:pt idx="582">
                  <c:v>99.575020658717975</c:v>
                </c:pt>
                <c:pt idx="583">
                  <c:v>96.81083878935371</c:v>
                </c:pt>
                <c:pt idx="584">
                  <c:v>97.569081844846224</c:v>
                </c:pt>
                <c:pt idx="585">
                  <c:v>99.232676189351892</c:v>
                </c:pt>
                <c:pt idx="586">
                  <c:v>99.736658100487631</c:v>
                </c:pt>
                <c:pt idx="587">
                  <c:v>100.13984362939621</c:v>
                </c:pt>
                <c:pt idx="588">
                  <c:v>101.95236235845373</c:v>
                </c:pt>
                <c:pt idx="589">
                  <c:v>102.63795937270143</c:v>
                </c:pt>
                <c:pt idx="590">
                  <c:v>102.78234337967544</c:v>
                </c:pt>
                <c:pt idx="591">
                  <c:v>103.08382445084135</c:v>
                </c:pt>
                <c:pt idx="592">
                  <c:v>103.5278733779501</c:v>
                </c:pt>
                <c:pt idx="593">
                  <c:v>103.31447563179354</c:v>
                </c:pt>
                <c:pt idx="594">
                  <c:v>102.74329613250639</c:v>
                </c:pt>
                <c:pt idx="595">
                  <c:v>101.68357200584801</c:v>
                </c:pt>
                <c:pt idx="596">
                  <c:v>101.70082544064365</c:v>
                </c:pt>
                <c:pt idx="597">
                  <c:v>102.2583838071974</c:v>
                </c:pt>
                <c:pt idx="598">
                  <c:v>101.69628506306584</c:v>
                </c:pt>
                <c:pt idx="599">
                  <c:v>100.61749135058071</c:v>
                </c:pt>
                <c:pt idx="600">
                  <c:v>99.03199150041317</c:v>
                </c:pt>
                <c:pt idx="601">
                  <c:v>99.801131462092386</c:v>
                </c:pt>
                <c:pt idx="602">
                  <c:v>100.43769239849985</c:v>
                </c:pt>
                <c:pt idx="603">
                  <c:v>99.301689928534458</c:v>
                </c:pt>
                <c:pt idx="604">
                  <c:v>96.609246024899448</c:v>
                </c:pt>
                <c:pt idx="605">
                  <c:v>96.474850848596574</c:v>
                </c:pt>
                <c:pt idx="606">
                  <c:v>94.079347638549621</c:v>
                </c:pt>
                <c:pt idx="607">
                  <c:v>95.09548414046111</c:v>
                </c:pt>
                <c:pt idx="608">
                  <c:v>95.176302861345945</c:v>
                </c:pt>
                <c:pt idx="609">
                  <c:v>93.23211318253226</c:v>
                </c:pt>
                <c:pt idx="610">
                  <c:v>93.500903535137994</c:v>
                </c:pt>
                <c:pt idx="611">
                  <c:v>95.771092324037681</c:v>
                </c:pt>
                <c:pt idx="612">
                  <c:v>94.135648320514349</c:v>
                </c:pt>
                <c:pt idx="613">
                  <c:v>92.857986070121584</c:v>
                </c:pt>
                <c:pt idx="614">
                  <c:v>94.128383716389848</c:v>
                </c:pt>
                <c:pt idx="615">
                  <c:v>91.819147680321095</c:v>
                </c:pt>
                <c:pt idx="616">
                  <c:v>93.951308990855665</c:v>
                </c:pt>
                <c:pt idx="617">
                  <c:v>95.518647330712028</c:v>
                </c:pt>
                <c:pt idx="618">
                  <c:v>94.710460121863733</c:v>
                </c:pt>
                <c:pt idx="619">
                  <c:v>95.93727014338512</c:v>
                </c:pt>
                <c:pt idx="620">
                  <c:v>94.891167149460159</c:v>
                </c:pt>
                <c:pt idx="621">
                  <c:v>94.922949792504738</c:v>
                </c:pt>
                <c:pt idx="622">
                  <c:v>93.817821890068387</c:v>
                </c:pt>
                <c:pt idx="623">
                  <c:v>93.582630331538368</c:v>
                </c:pt>
                <c:pt idx="624">
                  <c:v>93.211227445674382</c:v>
                </c:pt>
                <c:pt idx="625">
                  <c:v>94.429864787555744</c:v>
                </c:pt>
                <c:pt idx="626">
                  <c:v>94.479808940911525</c:v>
                </c:pt>
                <c:pt idx="627">
                  <c:v>93.94858476430899</c:v>
                </c:pt>
                <c:pt idx="628">
                  <c:v>95.304341509039887</c:v>
                </c:pt>
                <c:pt idx="629">
                  <c:v>95.341572605177845</c:v>
                </c:pt>
                <c:pt idx="630">
                  <c:v>93.151294461647424</c:v>
                </c:pt>
                <c:pt idx="631">
                  <c:v>92.07068459813118</c:v>
                </c:pt>
                <c:pt idx="632">
                  <c:v>91.527655439826376</c:v>
                </c:pt>
                <c:pt idx="633">
                  <c:v>90.543301580959479</c:v>
                </c:pt>
                <c:pt idx="634">
                  <c:v>90.721284382009202</c:v>
                </c:pt>
                <c:pt idx="635">
                  <c:v>91.160792931540186</c:v>
                </c:pt>
                <c:pt idx="636">
                  <c:v>92.747200857223291</c:v>
                </c:pt>
                <c:pt idx="637">
                  <c:v>90.159185637877641</c:v>
                </c:pt>
                <c:pt idx="638">
                  <c:v>90.937406354712451</c:v>
                </c:pt>
                <c:pt idx="639">
                  <c:v>91.03003005729957</c:v>
                </c:pt>
                <c:pt idx="640">
                  <c:v>90.252717415980314</c:v>
                </c:pt>
                <c:pt idx="641">
                  <c:v>90.082907294570617</c:v>
                </c:pt>
                <c:pt idx="642">
                  <c:v>88.927835238778457</c:v>
                </c:pt>
                <c:pt idx="643">
                  <c:v>88.904225275373889</c:v>
                </c:pt>
                <c:pt idx="644">
                  <c:v>87.357772672375432</c:v>
                </c:pt>
                <c:pt idx="645">
                  <c:v>87.595688457452113</c:v>
                </c:pt>
                <c:pt idx="646">
                  <c:v>87.575710796109803</c:v>
                </c:pt>
                <c:pt idx="647">
                  <c:v>89.766897015155777</c:v>
                </c:pt>
                <c:pt idx="648">
                  <c:v>90.234555905669126</c:v>
                </c:pt>
                <c:pt idx="649">
                  <c:v>90.534220825803871</c:v>
                </c:pt>
                <c:pt idx="650">
                  <c:v>90.252717415980314</c:v>
                </c:pt>
                <c:pt idx="651">
                  <c:v>90.389836818829849</c:v>
                </c:pt>
                <c:pt idx="652">
                  <c:v>89.995732045076863</c:v>
                </c:pt>
                <c:pt idx="653">
                  <c:v>90.633201056999894</c:v>
                </c:pt>
                <c:pt idx="654">
                  <c:v>91.820055755836648</c:v>
                </c:pt>
                <c:pt idx="655">
                  <c:v>91.060904624828595</c:v>
                </c:pt>
                <c:pt idx="656">
                  <c:v>92.65548523015174</c:v>
                </c:pt>
                <c:pt idx="657">
                  <c:v>93.601699917365124</c:v>
                </c:pt>
                <c:pt idx="658">
                  <c:v>93.158559065771911</c:v>
                </c:pt>
                <c:pt idx="659">
                  <c:v>93.321104583057135</c:v>
                </c:pt>
                <c:pt idx="660">
                  <c:v>91.208012858349292</c:v>
                </c:pt>
                <c:pt idx="661">
                  <c:v>91.109032627153269</c:v>
                </c:pt>
                <c:pt idx="662">
                  <c:v>92.476594353586435</c:v>
                </c:pt>
                <c:pt idx="663">
                  <c:v>92.477502429102003</c:v>
                </c:pt>
                <c:pt idx="664">
                  <c:v>96.064400715563508</c:v>
                </c:pt>
                <c:pt idx="665">
                  <c:v>97.120492540159646</c:v>
                </c:pt>
                <c:pt idx="666">
                  <c:v>97.619934073717559</c:v>
                </c:pt>
                <c:pt idx="667">
                  <c:v>97.446491650245619</c:v>
                </c:pt>
                <c:pt idx="668">
                  <c:v>96.433987450396373</c:v>
                </c:pt>
                <c:pt idx="669">
                  <c:v>94.755863897641717</c:v>
                </c:pt>
                <c:pt idx="670">
                  <c:v>94.855752204353308</c:v>
                </c:pt>
                <c:pt idx="671">
                  <c:v>95.199004749234945</c:v>
                </c:pt>
                <c:pt idx="672">
                  <c:v>95.559510728912215</c:v>
                </c:pt>
                <c:pt idx="673">
                  <c:v>94.803991899966405</c:v>
                </c:pt>
                <c:pt idx="674">
                  <c:v>96.776331919762441</c:v>
                </c:pt>
                <c:pt idx="675">
                  <c:v>96.830816450696034</c:v>
                </c:pt>
                <c:pt idx="676">
                  <c:v>96.898922114363017</c:v>
                </c:pt>
                <c:pt idx="677">
                  <c:v>97.547288032472778</c:v>
                </c:pt>
                <c:pt idx="678">
                  <c:v>97.88509212426105</c:v>
                </c:pt>
                <c:pt idx="679">
                  <c:v>95.149968671394703</c:v>
                </c:pt>
                <c:pt idx="680">
                  <c:v>92.525630431426677</c:v>
                </c:pt>
                <c:pt idx="681">
                  <c:v>90.8456907276409</c:v>
                </c:pt>
                <c:pt idx="682">
                  <c:v>91.115389155762188</c:v>
                </c:pt>
                <c:pt idx="683">
                  <c:v>95.408770193329289</c:v>
                </c:pt>
                <c:pt idx="684">
                  <c:v>97.159539787328725</c:v>
                </c:pt>
                <c:pt idx="685">
                  <c:v>98.235609273267158</c:v>
                </c:pt>
                <c:pt idx="686">
                  <c:v>97.31936107806726</c:v>
                </c:pt>
                <c:pt idx="687">
                  <c:v>97.57725452448625</c:v>
                </c:pt>
                <c:pt idx="688">
                  <c:v>94.571524567983076</c:v>
                </c:pt>
                <c:pt idx="689">
                  <c:v>98.186573195426931</c:v>
                </c:pt>
                <c:pt idx="690">
                  <c:v>99.454246615148506</c:v>
                </c:pt>
                <c:pt idx="691">
                  <c:v>100.94439853618226</c:v>
                </c:pt>
                <c:pt idx="692">
                  <c:v>100.7310007900257</c:v>
                </c:pt>
                <c:pt idx="693">
                  <c:v>100.67379203254544</c:v>
                </c:pt>
                <c:pt idx="694">
                  <c:v>100.26879035260572</c:v>
                </c:pt>
                <c:pt idx="695">
                  <c:v>100.02088573685788</c:v>
                </c:pt>
                <c:pt idx="696">
                  <c:v>100.57662795238052</c:v>
                </c:pt>
                <c:pt idx="697">
                  <c:v>100.30874567529035</c:v>
                </c:pt>
                <c:pt idx="698">
                  <c:v>101.88334861927117</c:v>
                </c:pt>
                <c:pt idx="699">
                  <c:v>102.73784767941304</c:v>
                </c:pt>
                <c:pt idx="700">
                  <c:v>102.43909083479382</c:v>
                </c:pt>
                <c:pt idx="701">
                  <c:v>103.08382445084135</c:v>
                </c:pt>
                <c:pt idx="702">
                  <c:v>101.87154363756889</c:v>
                </c:pt>
                <c:pt idx="703">
                  <c:v>101.25223613595706</c:v>
                </c:pt>
                <c:pt idx="704">
                  <c:v>101.71172234683034</c:v>
                </c:pt>
                <c:pt idx="705">
                  <c:v>102.69970850775951</c:v>
                </c:pt>
                <c:pt idx="706">
                  <c:v>101.88879707236454</c:v>
                </c:pt>
                <c:pt idx="707">
                  <c:v>101.26585726869047</c:v>
                </c:pt>
                <c:pt idx="708">
                  <c:v>100.10715291083608</c:v>
                </c:pt>
                <c:pt idx="709">
                  <c:v>101.56188988676298</c:v>
                </c:pt>
                <c:pt idx="710">
                  <c:v>102.0522506651653</c:v>
                </c:pt>
                <c:pt idx="711">
                  <c:v>101.44928852283357</c:v>
                </c:pt>
                <c:pt idx="712">
                  <c:v>101.15507205579217</c:v>
                </c:pt>
                <c:pt idx="713">
                  <c:v>103.60324364574159</c:v>
                </c:pt>
                <c:pt idx="714">
                  <c:v>104.60303478837301</c:v>
                </c:pt>
                <c:pt idx="715">
                  <c:v>104.56943599429729</c:v>
                </c:pt>
                <c:pt idx="716">
                  <c:v>105.48659226501276</c:v>
                </c:pt>
                <c:pt idx="717">
                  <c:v>106.27843411458096</c:v>
                </c:pt>
                <c:pt idx="718">
                  <c:v>105.57285943899093</c:v>
                </c:pt>
                <c:pt idx="719">
                  <c:v>107.10750706028713</c:v>
                </c:pt>
                <c:pt idx="720">
                  <c:v>106.18581041199384</c:v>
                </c:pt>
                <c:pt idx="721">
                  <c:v>104.74378649328477</c:v>
                </c:pt>
                <c:pt idx="722">
                  <c:v>104.88090589613432</c:v>
                </c:pt>
                <c:pt idx="723">
                  <c:v>104.49769802856805</c:v>
                </c:pt>
                <c:pt idx="724">
                  <c:v>105.58284826966211</c:v>
                </c:pt>
                <c:pt idx="725">
                  <c:v>104.7410622667381</c:v>
                </c:pt>
                <c:pt idx="726">
                  <c:v>105.39941701551901</c:v>
                </c:pt>
                <c:pt idx="727">
                  <c:v>103.11106671630812</c:v>
                </c:pt>
                <c:pt idx="728">
                  <c:v>103.28904951735787</c:v>
                </c:pt>
                <c:pt idx="729">
                  <c:v>101.51103765789162</c:v>
                </c:pt>
                <c:pt idx="730">
                  <c:v>102.45362004304278</c:v>
                </c:pt>
                <c:pt idx="731">
                  <c:v>102.82683907993788</c:v>
                </c:pt>
                <c:pt idx="732">
                  <c:v>102.46542502474507</c:v>
                </c:pt>
                <c:pt idx="733">
                  <c:v>101.68357200584801</c:v>
                </c:pt>
                <c:pt idx="734">
                  <c:v>103.02025916475215</c:v>
                </c:pt>
                <c:pt idx="735">
                  <c:v>101.83431254143096</c:v>
                </c:pt>
                <c:pt idx="736">
                  <c:v>100.85903943771963</c:v>
                </c:pt>
                <c:pt idx="737">
                  <c:v>100.49944153355793</c:v>
                </c:pt>
                <c:pt idx="738">
                  <c:v>101.20410813363239</c:v>
                </c:pt>
                <c:pt idx="739">
                  <c:v>100.59115716062948</c:v>
                </c:pt>
                <c:pt idx="740">
                  <c:v>101.08515024109406</c:v>
                </c:pt>
                <c:pt idx="741">
                  <c:v>102.76054956730204</c:v>
                </c:pt>
                <c:pt idx="742">
                  <c:v>104.06091370558377</c:v>
                </c:pt>
                <c:pt idx="743">
                  <c:v>103.95648502129437</c:v>
                </c:pt>
                <c:pt idx="744">
                  <c:v>102.79142413483105</c:v>
                </c:pt>
                <c:pt idx="745">
                  <c:v>102.19118621904597</c:v>
                </c:pt>
                <c:pt idx="746">
                  <c:v>100.4277035678287</c:v>
                </c:pt>
                <c:pt idx="747">
                  <c:v>100.68378086321658</c:v>
                </c:pt>
                <c:pt idx="748">
                  <c:v>99.851983690963735</c:v>
                </c:pt>
                <c:pt idx="749">
                  <c:v>100.88718977870199</c:v>
                </c:pt>
                <c:pt idx="750">
                  <c:v>99.863788672666018</c:v>
                </c:pt>
                <c:pt idx="751">
                  <c:v>100.65109014465644</c:v>
                </c:pt>
                <c:pt idx="752">
                  <c:v>100.71465543074561</c:v>
                </c:pt>
                <c:pt idx="753">
                  <c:v>101.27402994833051</c:v>
                </c:pt>
                <c:pt idx="754">
                  <c:v>101.38118285916657</c:v>
                </c:pt>
                <c:pt idx="755">
                  <c:v>100.48128002324673</c:v>
                </c:pt>
                <c:pt idx="756">
                  <c:v>100.9071674400443</c:v>
                </c:pt>
                <c:pt idx="757">
                  <c:v>98.915757834421498</c:v>
                </c:pt>
                <c:pt idx="758">
                  <c:v>98.259219236671711</c:v>
                </c:pt>
                <c:pt idx="759">
                  <c:v>97.994061186128249</c:v>
                </c:pt>
                <c:pt idx="760">
                  <c:v>97.840596423998633</c:v>
                </c:pt>
                <c:pt idx="761">
                  <c:v>97.75069694795819</c:v>
                </c:pt>
                <c:pt idx="762">
                  <c:v>97.560909165206169</c:v>
                </c:pt>
                <c:pt idx="763">
                  <c:v>96.811746864869278</c:v>
                </c:pt>
                <c:pt idx="764">
                  <c:v>94.958364737611575</c:v>
                </c:pt>
                <c:pt idx="765">
                  <c:v>96.512081944734518</c:v>
                </c:pt>
                <c:pt idx="766">
                  <c:v>96.690064745784255</c:v>
                </c:pt>
                <c:pt idx="767">
                  <c:v>97.579978751032925</c:v>
                </c:pt>
                <c:pt idx="768">
                  <c:v>98.106662550057663</c:v>
                </c:pt>
                <c:pt idx="769">
                  <c:v>98.982047347057375</c:v>
                </c:pt>
                <c:pt idx="770">
                  <c:v>98.636070575629077</c:v>
                </c:pt>
                <c:pt idx="771">
                  <c:v>98.3409460330721</c:v>
                </c:pt>
                <c:pt idx="772">
                  <c:v>98.668761294189224</c:v>
                </c:pt>
                <c:pt idx="773">
                  <c:v>100.83088909673729</c:v>
                </c:pt>
                <c:pt idx="774">
                  <c:v>100.35233330003722</c:v>
                </c:pt>
                <c:pt idx="775">
                  <c:v>100.39864515133077</c:v>
                </c:pt>
                <c:pt idx="776">
                  <c:v>100.35414945106835</c:v>
                </c:pt>
                <c:pt idx="777">
                  <c:v>101.19593545399238</c:v>
                </c:pt>
                <c:pt idx="778">
                  <c:v>101.38481516122881</c:v>
                </c:pt>
                <c:pt idx="779">
                  <c:v>101.23135039909918</c:v>
                </c:pt>
                <c:pt idx="780">
                  <c:v>100.9571115934001</c:v>
                </c:pt>
                <c:pt idx="781">
                  <c:v>102.22115271105945</c:v>
                </c:pt>
                <c:pt idx="782">
                  <c:v>102.76781417142651</c:v>
                </c:pt>
                <c:pt idx="783">
                  <c:v>103.17099970033507</c:v>
                </c:pt>
                <c:pt idx="784">
                  <c:v>103.03388029748555</c:v>
                </c:pt>
                <c:pt idx="785">
                  <c:v>102.58983137037676</c:v>
                </c:pt>
                <c:pt idx="786">
                  <c:v>102.90402549876048</c:v>
                </c:pt>
                <c:pt idx="787">
                  <c:v>103.4307092977852</c:v>
                </c:pt>
                <c:pt idx="788">
                  <c:v>103.65591202564406</c:v>
                </c:pt>
                <c:pt idx="789">
                  <c:v>103.50153918799887</c:v>
                </c:pt>
                <c:pt idx="790">
                  <c:v>103.56510447408806</c:v>
                </c:pt>
                <c:pt idx="791">
                  <c:v>103.98463536227671</c:v>
                </c:pt>
                <c:pt idx="792">
                  <c:v>102.97031501139635</c:v>
                </c:pt>
                <c:pt idx="793">
                  <c:v>103.20005811683299</c:v>
                </c:pt>
                <c:pt idx="794">
                  <c:v>105.8952262470147</c:v>
                </c:pt>
                <c:pt idx="795">
                  <c:v>105.57921596759986</c:v>
                </c:pt>
                <c:pt idx="796">
                  <c:v>105.88251318979687</c:v>
                </c:pt>
                <c:pt idx="797">
                  <c:v>104.96354076805028</c:v>
                </c:pt>
                <c:pt idx="798">
                  <c:v>104.59940248631077</c:v>
                </c:pt>
                <c:pt idx="799">
                  <c:v>105.62461974337786</c:v>
                </c:pt>
                <c:pt idx="800">
                  <c:v>105.27047029230951</c:v>
                </c:pt>
                <c:pt idx="801">
                  <c:v>105.24776840442051</c:v>
                </c:pt>
                <c:pt idx="802">
                  <c:v>105.23233112065597</c:v>
                </c:pt>
                <c:pt idx="803">
                  <c:v>104.93357427603678</c:v>
                </c:pt>
                <c:pt idx="804">
                  <c:v>104.88998665128992</c:v>
                </c:pt>
                <c:pt idx="805">
                  <c:v>106.10953206868683</c:v>
                </c:pt>
                <c:pt idx="806">
                  <c:v>106.02235681919308</c:v>
                </c:pt>
                <c:pt idx="807">
                  <c:v>106.3837708743859</c:v>
                </c:pt>
                <c:pt idx="808">
                  <c:v>105.4266592809858</c:v>
                </c:pt>
                <c:pt idx="809">
                  <c:v>104.95536808841021</c:v>
                </c:pt>
                <c:pt idx="810">
                  <c:v>105.38034742969225</c:v>
                </c:pt>
                <c:pt idx="811">
                  <c:v>105.50384569980839</c:v>
                </c:pt>
                <c:pt idx="812">
                  <c:v>105.66003468848469</c:v>
                </c:pt>
                <c:pt idx="813">
                  <c:v>106.01872451713083</c:v>
                </c:pt>
                <c:pt idx="814">
                  <c:v>105.33131135185204</c:v>
                </c:pt>
                <c:pt idx="815">
                  <c:v>104.39780972185648</c:v>
                </c:pt>
                <c:pt idx="816">
                  <c:v>104.94628733325465</c:v>
                </c:pt>
                <c:pt idx="817">
                  <c:v>102.24203844791732</c:v>
                </c:pt>
                <c:pt idx="818">
                  <c:v>103.11015864079256</c:v>
                </c:pt>
                <c:pt idx="819">
                  <c:v>102.40730819174924</c:v>
                </c:pt>
                <c:pt idx="820">
                  <c:v>102.09038983681882</c:v>
                </c:pt>
                <c:pt idx="821">
                  <c:v>103.0438691281567</c:v>
                </c:pt>
                <c:pt idx="822">
                  <c:v>102.70606503636841</c:v>
                </c:pt>
                <c:pt idx="823">
                  <c:v>103.0729275446546</c:v>
                </c:pt>
                <c:pt idx="824">
                  <c:v>103.4307092977852</c:v>
                </c:pt>
                <c:pt idx="825">
                  <c:v>102.53443876392762</c:v>
                </c:pt>
                <c:pt idx="826">
                  <c:v>102.33466215050444</c:v>
                </c:pt>
                <c:pt idx="827">
                  <c:v>102.51173687603863</c:v>
                </c:pt>
                <c:pt idx="828">
                  <c:v>103.69495927281314</c:v>
                </c:pt>
                <c:pt idx="829">
                  <c:v>102.92309508458723</c:v>
                </c:pt>
                <c:pt idx="830">
                  <c:v>100.4158985861264</c:v>
                </c:pt>
                <c:pt idx="831">
                  <c:v>102.35282366081564</c:v>
                </c:pt>
                <c:pt idx="832">
                  <c:v>103.09199713048136</c:v>
                </c:pt>
                <c:pt idx="833">
                  <c:v>100.67288395702987</c:v>
                </c:pt>
                <c:pt idx="834">
                  <c:v>102.33920252808224</c:v>
                </c:pt>
                <c:pt idx="835">
                  <c:v>103.0620306384679</c:v>
                </c:pt>
                <c:pt idx="836">
                  <c:v>101.97960462392052</c:v>
                </c:pt>
                <c:pt idx="837">
                  <c:v>101.92330394195581</c:v>
                </c:pt>
                <c:pt idx="838">
                  <c:v>103.68497044214196</c:v>
                </c:pt>
                <c:pt idx="839">
                  <c:v>103.56147217202583</c:v>
                </c:pt>
                <c:pt idx="840">
                  <c:v>104.02277453393023</c:v>
                </c:pt>
                <c:pt idx="841">
                  <c:v>105.65186200884466</c:v>
                </c:pt>
                <c:pt idx="842">
                  <c:v>105.45934999954596</c:v>
                </c:pt>
                <c:pt idx="843">
                  <c:v>105.64732163126686</c:v>
                </c:pt>
                <c:pt idx="844">
                  <c:v>105.56650291038203</c:v>
                </c:pt>
                <c:pt idx="845">
                  <c:v>107.37720548840841</c:v>
                </c:pt>
                <c:pt idx="846">
                  <c:v>107.28367371030576</c:v>
                </c:pt>
                <c:pt idx="847">
                  <c:v>106.52815488135991</c:v>
                </c:pt>
                <c:pt idx="848">
                  <c:v>105.680012349827</c:v>
                </c:pt>
                <c:pt idx="849">
                  <c:v>107.02578026388674</c:v>
                </c:pt>
                <c:pt idx="850">
                  <c:v>106.52724680584436</c:v>
                </c:pt>
                <c:pt idx="851">
                  <c:v>106.50272876692424</c:v>
                </c:pt>
                <c:pt idx="852">
                  <c:v>105.67638004776477</c:v>
                </c:pt>
                <c:pt idx="853">
                  <c:v>105.38216358072336</c:v>
                </c:pt>
                <c:pt idx="854">
                  <c:v>103.91743777412528</c:v>
                </c:pt>
                <c:pt idx="855">
                  <c:v>104.20075733497998</c:v>
                </c:pt>
                <c:pt idx="856">
                  <c:v>105.98149342099288</c:v>
                </c:pt>
                <c:pt idx="857">
                  <c:v>104.17260699399762</c:v>
                </c:pt>
                <c:pt idx="858">
                  <c:v>103.92288622721865</c:v>
                </c:pt>
                <c:pt idx="859">
                  <c:v>103.13104437765044</c:v>
                </c:pt>
                <c:pt idx="860">
                  <c:v>103.05839833640566</c:v>
                </c:pt>
                <c:pt idx="861">
                  <c:v>103.76851338957347</c:v>
                </c:pt>
                <c:pt idx="862">
                  <c:v>106.17491350580714</c:v>
                </c:pt>
                <c:pt idx="863">
                  <c:v>106.91681120201957</c:v>
                </c:pt>
                <c:pt idx="864">
                  <c:v>106.15402776894926</c:v>
                </c:pt>
                <c:pt idx="865">
                  <c:v>105.39487663794122</c:v>
                </c:pt>
                <c:pt idx="866">
                  <c:v>104.42959236490105</c:v>
                </c:pt>
                <c:pt idx="867">
                  <c:v>103.01753493820547</c:v>
                </c:pt>
                <c:pt idx="868">
                  <c:v>102.63977552373255</c:v>
                </c:pt>
                <c:pt idx="869">
                  <c:v>102.88041553535592</c:v>
                </c:pt>
                <c:pt idx="870">
                  <c:v>103.80574448571144</c:v>
                </c:pt>
                <c:pt idx="871">
                  <c:v>106.40919698882159</c:v>
                </c:pt>
                <c:pt idx="872">
                  <c:v>107.58515478147162</c:v>
                </c:pt>
                <c:pt idx="873">
                  <c:v>108.26621141814152</c:v>
                </c:pt>
                <c:pt idx="874">
                  <c:v>107.72045803329004</c:v>
                </c:pt>
                <c:pt idx="875">
                  <c:v>109.00084451022947</c:v>
                </c:pt>
                <c:pt idx="876">
                  <c:v>108.5794974710097</c:v>
                </c:pt>
                <c:pt idx="877">
                  <c:v>108.54771482796508</c:v>
                </c:pt>
                <c:pt idx="878">
                  <c:v>108.31343134495064</c:v>
                </c:pt>
                <c:pt idx="879">
                  <c:v>109.92163308300718</c:v>
                </c:pt>
                <c:pt idx="880">
                  <c:v>109.72730492267735</c:v>
                </c:pt>
                <c:pt idx="881">
                  <c:v>109.79450251082878</c:v>
                </c:pt>
                <c:pt idx="882">
                  <c:v>110.20949302143967</c:v>
                </c:pt>
                <c:pt idx="883">
                  <c:v>109.9125523278516</c:v>
                </c:pt>
                <c:pt idx="884">
                  <c:v>110.50280141296551</c:v>
                </c:pt>
                <c:pt idx="885">
                  <c:v>110.62175930550384</c:v>
                </c:pt>
                <c:pt idx="886">
                  <c:v>110.91143539496746</c:v>
                </c:pt>
                <c:pt idx="887">
                  <c:v>110.87783660089173</c:v>
                </c:pt>
                <c:pt idx="888">
                  <c:v>110.83606512717597</c:v>
                </c:pt>
                <c:pt idx="889">
                  <c:v>111.16751269035534</c:v>
                </c:pt>
                <c:pt idx="890">
                  <c:v>111.72507105690907</c:v>
                </c:pt>
                <c:pt idx="891">
                  <c:v>111.78591211645158</c:v>
                </c:pt>
                <c:pt idx="892">
                  <c:v>112.12099198169321</c:v>
                </c:pt>
                <c:pt idx="893">
                  <c:v>110.07691399616792</c:v>
                </c:pt>
                <c:pt idx="894">
                  <c:v>109.91800078094494</c:v>
                </c:pt>
                <c:pt idx="895">
                  <c:v>110.95683917074544</c:v>
                </c:pt>
                <c:pt idx="896">
                  <c:v>112.70760876474488</c:v>
                </c:pt>
                <c:pt idx="897">
                  <c:v>111.12301699009291</c:v>
                </c:pt>
                <c:pt idx="898">
                  <c:v>111.55072055792159</c:v>
                </c:pt>
                <c:pt idx="899">
                  <c:v>110.23855143793757</c:v>
                </c:pt>
                <c:pt idx="900">
                  <c:v>109.30141750587981</c:v>
                </c:pt>
                <c:pt idx="901">
                  <c:v>109.47849223141395</c:v>
                </c:pt>
                <c:pt idx="902">
                  <c:v>107.94838498769556</c:v>
                </c:pt>
                <c:pt idx="903">
                  <c:v>106.93043233475295</c:v>
                </c:pt>
                <c:pt idx="904">
                  <c:v>108.51048373182715</c:v>
                </c:pt>
                <c:pt idx="905">
                  <c:v>108.29254560809277</c:v>
                </c:pt>
                <c:pt idx="906">
                  <c:v>107.33543401469265</c:v>
                </c:pt>
                <c:pt idx="907">
                  <c:v>106.67253888833395</c:v>
                </c:pt>
                <c:pt idx="908">
                  <c:v>106.82509557494801</c:v>
                </c:pt>
                <c:pt idx="909">
                  <c:v>107.09751822961597</c:v>
                </c:pt>
                <c:pt idx="910">
                  <c:v>108.14543737457207</c:v>
                </c:pt>
                <c:pt idx="911">
                  <c:v>108.23987722819031</c:v>
                </c:pt>
                <c:pt idx="912">
                  <c:v>107.65780082271641</c:v>
                </c:pt>
                <c:pt idx="913">
                  <c:v>104.46228308346122</c:v>
                </c:pt>
                <c:pt idx="914">
                  <c:v>102.92309508458723</c:v>
                </c:pt>
                <c:pt idx="915">
                  <c:v>101.27584609936162</c:v>
                </c:pt>
                <c:pt idx="916">
                  <c:v>102.56168102939441</c:v>
                </c:pt>
                <c:pt idx="917">
                  <c:v>104.31154254787829</c:v>
                </c:pt>
                <c:pt idx="918">
                  <c:v>104.83459404484077</c:v>
                </c:pt>
                <c:pt idx="919">
                  <c:v>104.64571433760432</c:v>
                </c:pt>
                <c:pt idx="920">
                  <c:v>104.97716190078366</c:v>
                </c:pt>
                <c:pt idx="921">
                  <c:v>104.48680112238134</c:v>
                </c:pt>
                <c:pt idx="922">
                  <c:v>103.20913887198859</c:v>
                </c:pt>
                <c:pt idx="923">
                  <c:v>105.61735513925336</c:v>
                </c:pt>
                <c:pt idx="924">
                  <c:v>104.03911989321033</c:v>
                </c:pt>
                <c:pt idx="925">
                  <c:v>105.58829672275547</c:v>
                </c:pt>
                <c:pt idx="926">
                  <c:v>106.36288513752802</c:v>
                </c:pt>
                <c:pt idx="927">
                  <c:v>106.38831125196371</c:v>
                </c:pt>
                <c:pt idx="928">
                  <c:v>107.41534466006193</c:v>
                </c:pt>
                <c:pt idx="929">
                  <c:v>106.85869436902374</c:v>
                </c:pt>
                <c:pt idx="930">
                  <c:v>107.36994088428395</c:v>
                </c:pt>
                <c:pt idx="931">
                  <c:v>107.07027596414918</c:v>
                </c:pt>
                <c:pt idx="932">
                  <c:v>107.46528881341773</c:v>
                </c:pt>
                <c:pt idx="933">
                  <c:v>108.66394849395678</c:v>
                </c:pt>
                <c:pt idx="934">
                  <c:v>109.09891666590994</c:v>
                </c:pt>
                <c:pt idx="935">
                  <c:v>108.90640465661123</c:v>
                </c:pt>
                <c:pt idx="936">
                  <c:v>109.72639684716181</c:v>
                </c:pt>
                <c:pt idx="937">
                  <c:v>110.52822752740119</c:v>
                </c:pt>
                <c:pt idx="938">
                  <c:v>110.1086966392125</c:v>
                </c:pt>
                <c:pt idx="939">
                  <c:v>110.62811583411276</c:v>
                </c:pt>
                <c:pt idx="940">
                  <c:v>110.37476276527156</c:v>
                </c:pt>
                <c:pt idx="941">
                  <c:v>111.10757970632837</c:v>
                </c:pt>
                <c:pt idx="942">
                  <c:v>110.86875584573615</c:v>
                </c:pt>
                <c:pt idx="943">
                  <c:v>112.10827892447534</c:v>
                </c:pt>
                <c:pt idx="944">
                  <c:v>112.4833141124016</c:v>
                </c:pt>
                <c:pt idx="945">
                  <c:v>112.50329177374392</c:v>
                </c:pt>
                <c:pt idx="946">
                  <c:v>110.95774724626099</c:v>
                </c:pt>
                <c:pt idx="947">
                  <c:v>111.05218709987923</c:v>
                </c:pt>
                <c:pt idx="948">
                  <c:v>112.46878490415261</c:v>
                </c:pt>
                <c:pt idx="949">
                  <c:v>112.91737420883921</c:v>
                </c:pt>
                <c:pt idx="950">
                  <c:v>113.20977452484948</c:v>
                </c:pt>
                <c:pt idx="951">
                  <c:v>114.01342135611996</c:v>
                </c:pt>
                <c:pt idx="952">
                  <c:v>114.0987804545826</c:v>
                </c:pt>
                <c:pt idx="953">
                  <c:v>113.483105255033</c:v>
                </c:pt>
                <c:pt idx="954">
                  <c:v>114.4093422809041</c:v>
                </c:pt>
                <c:pt idx="955">
                  <c:v>113.40501076069485</c:v>
                </c:pt>
                <c:pt idx="956">
                  <c:v>111.75322139789145</c:v>
                </c:pt>
                <c:pt idx="957">
                  <c:v>111.27375752567585</c:v>
                </c:pt>
                <c:pt idx="958">
                  <c:v>112.50783215132169</c:v>
                </c:pt>
                <c:pt idx="959">
                  <c:v>113.03905632792421</c:v>
                </c:pt>
                <c:pt idx="960">
                  <c:v>112.58501857014429</c:v>
                </c:pt>
                <c:pt idx="961">
                  <c:v>110.12231777194592</c:v>
                </c:pt>
                <c:pt idx="962">
                  <c:v>110.8124551637714</c:v>
                </c:pt>
                <c:pt idx="963">
                  <c:v>111.10848778184392</c:v>
                </c:pt>
                <c:pt idx="964">
                  <c:v>109.6383135221525</c:v>
                </c:pt>
                <c:pt idx="965">
                  <c:v>111.27375752567585</c:v>
                </c:pt>
                <c:pt idx="966">
                  <c:v>111.30099979114263</c:v>
                </c:pt>
                <c:pt idx="967">
                  <c:v>111.44356764708554</c:v>
                </c:pt>
                <c:pt idx="968">
                  <c:v>112.57957011705093</c:v>
                </c:pt>
                <c:pt idx="969">
                  <c:v>113.67924956639392</c:v>
                </c:pt>
                <c:pt idx="970">
                  <c:v>113.5693724290112</c:v>
                </c:pt>
                <c:pt idx="971">
                  <c:v>115.22116179181461</c:v>
                </c:pt>
                <c:pt idx="972">
                  <c:v>115.99030175349381</c:v>
                </c:pt>
                <c:pt idx="973">
                  <c:v>116.71494601491059</c:v>
                </c:pt>
                <c:pt idx="974">
                  <c:v>116.90200957111591</c:v>
                </c:pt>
                <c:pt idx="975">
                  <c:v>117.61848115289266</c:v>
                </c:pt>
                <c:pt idx="976">
                  <c:v>117.30428702450895</c:v>
                </c:pt>
                <c:pt idx="977">
                  <c:v>117.69203526965302</c:v>
                </c:pt>
                <c:pt idx="978">
                  <c:v>118.13971649882404</c:v>
                </c:pt>
                <c:pt idx="979">
                  <c:v>118.18784450114872</c:v>
                </c:pt>
                <c:pt idx="980">
                  <c:v>117.19713411367287</c:v>
                </c:pt>
                <c:pt idx="981">
                  <c:v>118.18693642563316</c:v>
                </c:pt>
                <c:pt idx="982">
                  <c:v>118.32950428157605</c:v>
                </c:pt>
                <c:pt idx="983">
                  <c:v>118.55743123598157</c:v>
                </c:pt>
                <c:pt idx="984">
                  <c:v>118.48932557231457</c:v>
                </c:pt>
                <c:pt idx="985">
                  <c:v>117.39872687812718</c:v>
                </c:pt>
                <c:pt idx="986">
                  <c:v>118.48932557231457</c:v>
                </c:pt>
                <c:pt idx="987">
                  <c:v>117.82189006837808</c:v>
                </c:pt>
                <c:pt idx="988">
                  <c:v>117.22528445465525</c:v>
                </c:pt>
                <c:pt idx="989">
                  <c:v>118.08523196789045</c:v>
                </c:pt>
                <c:pt idx="990">
                  <c:v>117.96718215086766</c:v>
                </c:pt>
                <c:pt idx="991">
                  <c:v>118.2196271441933</c:v>
                </c:pt>
                <c:pt idx="992">
                  <c:v>118.42303605967872</c:v>
                </c:pt>
                <c:pt idx="993">
                  <c:v>120.83760885555243</c:v>
                </c:pt>
                <c:pt idx="994">
                  <c:v>120.26552128074972</c:v>
                </c:pt>
                <c:pt idx="995">
                  <c:v>120.69322484857841</c:v>
                </c:pt>
                <c:pt idx="996">
                  <c:v>122.1416052958964</c:v>
                </c:pt>
                <c:pt idx="997">
                  <c:v>123.73164552364173</c:v>
                </c:pt>
                <c:pt idx="998">
                  <c:v>123.14775296713675</c:v>
                </c:pt>
                <c:pt idx="999">
                  <c:v>123.96774515768732</c:v>
                </c:pt>
                <c:pt idx="1000">
                  <c:v>124.24652434096419</c:v>
                </c:pt>
                <c:pt idx="1001">
                  <c:v>124.62791605749935</c:v>
                </c:pt>
                <c:pt idx="1002">
                  <c:v>123.32664384370202</c:v>
                </c:pt>
                <c:pt idx="1003">
                  <c:v>124.27830698400879</c:v>
                </c:pt>
                <c:pt idx="1004">
                  <c:v>123.51643162645405</c:v>
                </c:pt>
                <c:pt idx="1005">
                  <c:v>123.24128474523941</c:v>
                </c:pt>
                <c:pt idx="1006">
                  <c:v>124.49987740980539</c:v>
                </c:pt>
                <c:pt idx="1007">
                  <c:v>123.55547887362314</c:v>
                </c:pt>
                <c:pt idx="1008">
                  <c:v>123.83334998138444</c:v>
                </c:pt>
                <c:pt idx="1009">
                  <c:v>123.41835947077358</c:v>
                </c:pt>
                <c:pt idx="1010">
                  <c:v>123.92415753294044</c:v>
                </c:pt>
                <c:pt idx="1011">
                  <c:v>123.08872805862536</c:v>
                </c:pt>
                <c:pt idx="1012">
                  <c:v>123.95866440253171</c:v>
                </c:pt>
                <c:pt idx="1013">
                  <c:v>122.57475731681846</c:v>
                </c:pt>
                <c:pt idx="1014">
                  <c:v>122.50211127557367</c:v>
                </c:pt>
                <c:pt idx="1015">
                  <c:v>123.23583629214605</c:v>
                </c:pt>
                <c:pt idx="1016">
                  <c:v>122.81812155498851</c:v>
                </c:pt>
                <c:pt idx="1017">
                  <c:v>122.59382690264522</c:v>
                </c:pt>
                <c:pt idx="1018">
                  <c:v>123.341173051951</c:v>
                </c:pt>
                <c:pt idx="1019">
                  <c:v>123.38930105427566</c:v>
                </c:pt>
                <c:pt idx="1020">
                  <c:v>124.67150368224623</c:v>
                </c:pt>
                <c:pt idx="1021">
                  <c:v>123.86513262442904</c:v>
                </c:pt>
                <c:pt idx="1022">
                  <c:v>123.60633110249448</c:v>
                </c:pt>
                <c:pt idx="1023">
                  <c:v>123.98953897006075</c:v>
                </c:pt>
                <c:pt idx="1024">
                  <c:v>124.16298139353268</c:v>
                </c:pt>
                <c:pt idx="1025">
                  <c:v>124.57978805517467</c:v>
                </c:pt>
                <c:pt idx="1026">
                  <c:v>124.00134395176303</c:v>
                </c:pt>
                <c:pt idx="1027">
                  <c:v>124.70873477838416</c:v>
                </c:pt>
                <c:pt idx="1028">
                  <c:v>125.2081763119421</c:v>
                </c:pt>
                <c:pt idx="1029">
                  <c:v>125.46243745629889</c:v>
                </c:pt>
                <c:pt idx="1030">
                  <c:v>124.55163771419231</c:v>
                </c:pt>
                <c:pt idx="1031">
                  <c:v>121.88643607602407</c:v>
                </c:pt>
                <c:pt idx="1032">
                  <c:v>120.93931331329513</c:v>
                </c:pt>
                <c:pt idx="1033">
                  <c:v>119.62532804227999</c:v>
                </c:pt>
                <c:pt idx="1034">
                  <c:v>120.0212489670641</c:v>
                </c:pt>
                <c:pt idx="1035">
                  <c:v>120.42443449597269</c:v>
                </c:pt>
                <c:pt idx="1036">
                  <c:v>119.76153936961396</c:v>
                </c:pt>
                <c:pt idx="1037">
                  <c:v>118.76810475559148</c:v>
                </c:pt>
                <c:pt idx="1038">
                  <c:v>117.85639693796935</c:v>
                </c:pt>
                <c:pt idx="1039">
                  <c:v>117.61030847325264</c:v>
                </c:pt>
                <c:pt idx="1040">
                  <c:v>119.32203082008299</c:v>
                </c:pt>
                <c:pt idx="1041">
                  <c:v>118.39034534111856</c:v>
                </c:pt>
                <c:pt idx="1042">
                  <c:v>119.19217602135792</c:v>
                </c:pt>
                <c:pt idx="1043">
                  <c:v>121.26985280095892</c:v>
                </c:pt>
                <c:pt idx="1044">
                  <c:v>121.94546098453547</c:v>
                </c:pt>
                <c:pt idx="1045">
                  <c:v>122.68735868074789</c:v>
                </c:pt>
                <c:pt idx="1046">
                  <c:v>122.96613786402477</c:v>
                </c:pt>
                <c:pt idx="1047">
                  <c:v>124.57887997965911</c:v>
                </c:pt>
                <c:pt idx="1048">
                  <c:v>124.46537054021414</c:v>
                </c:pt>
                <c:pt idx="1049">
                  <c:v>124.74687395003767</c:v>
                </c:pt>
                <c:pt idx="1050">
                  <c:v>122.78452276091281</c:v>
                </c:pt>
                <c:pt idx="1051">
                  <c:v>123.51915585300073</c:v>
                </c:pt>
                <c:pt idx="1052">
                  <c:v>123.57727268599656</c:v>
                </c:pt>
                <c:pt idx="1053">
                  <c:v>124.87491259773162</c:v>
                </c:pt>
                <c:pt idx="1054">
                  <c:v>124.80953116061131</c:v>
                </c:pt>
                <c:pt idx="1055">
                  <c:v>124.7604950827711</c:v>
                </c:pt>
                <c:pt idx="1056">
                  <c:v>125.65767369214424</c:v>
                </c:pt>
                <c:pt idx="1057">
                  <c:v>126.26699236308492</c:v>
                </c:pt>
                <c:pt idx="1058">
                  <c:v>127.03976462682635</c:v>
                </c:pt>
                <c:pt idx="1059">
                  <c:v>129.2636415644325</c:v>
                </c:pt>
                <c:pt idx="1060">
                  <c:v>128.85682373346168</c:v>
                </c:pt>
                <c:pt idx="1061">
                  <c:v>129.06749725307156</c:v>
                </c:pt>
                <c:pt idx="1062">
                  <c:v>129.21278933556115</c:v>
                </c:pt>
                <c:pt idx="1063">
                  <c:v>128.49359352723772</c:v>
                </c:pt>
                <c:pt idx="1064">
                  <c:v>128.20391743777409</c:v>
                </c:pt>
                <c:pt idx="1065">
                  <c:v>127.65180752431371</c:v>
                </c:pt>
                <c:pt idx="1066">
                  <c:v>124.96935245134986</c:v>
                </c:pt>
                <c:pt idx="1067">
                  <c:v>124.33279151494239</c:v>
                </c:pt>
                <c:pt idx="1068">
                  <c:v>124.9412021103675</c:v>
                </c:pt>
                <c:pt idx="1069">
                  <c:v>124.37728721520483</c:v>
                </c:pt>
                <c:pt idx="1070">
                  <c:v>125.21634899158214</c:v>
                </c:pt>
                <c:pt idx="1071">
                  <c:v>124.6624229270906</c:v>
                </c:pt>
                <c:pt idx="1072">
                  <c:v>122.97431054366481</c:v>
                </c:pt>
                <c:pt idx="1073">
                  <c:v>123.00972548877162</c:v>
                </c:pt>
                <c:pt idx="1074">
                  <c:v>122.97975899675816</c:v>
                </c:pt>
                <c:pt idx="1075">
                  <c:v>125.20636016091098</c:v>
                </c:pt>
                <c:pt idx="1076">
                  <c:v>126.0753884293018</c:v>
                </c:pt>
                <c:pt idx="1077">
                  <c:v>125.99820201047918</c:v>
                </c:pt>
                <c:pt idx="1078">
                  <c:v>127.7062920552473</c:v>
                </c:pt>
                <c:pt idx="1079">
                  <c:v>128.33558838753029</c:v>
                </c:pt>
                <c:pt idx="1080">
                  <c:v>128.87407716825732</c:v>
                </c:pt>
                <c:pt idx="1081">
                  <c:v>129.91291555805782</c:v>
                </c:pt>
                <c:pt idx="1082">
                  <c:v>130.0763691508586</c:v>
                </c:pt>
                <c:pt idx="1083">
                  <c:v>130.27251346221951</c:v>
                </c:pt>
                <c:pt idx="1084">
                  <c:v>130.13811828591665</c:v>
                </c:pt>
                <c:pt idx="1085">
                  <c:v>130.12631330421439</c:v>
                </c:pt>
                <c:pt idx="1086">
                  <c:v>131.02530806461866</c:v>
                </c:pt>
                <c:pt idx="1087">
                  <c:v>132.43373318925202</c:v>
                </c:pt>
                <c:pt idx="1088">
                  <c:v>132.48640156915451</c:v>
                </c:pt>
                <c:pt idx="1089">
                  <c:v>131.52474959817658</c:v>
                </c:pt>
                <c:pt idx="1090">
                  <c:v>130.91906322929813</c:v>
                </c:pt>
                <c:pt idx="1091">
                  <c:v>131.21872814943291</c:v>
                </c:pt>
                <c:pt idx="1092">
                  <c:v>128.02684271223995</c:v>
                </c:pt>
                <c:pt idx="1093">
                  <c:v>130.92905205996931</c:v>
                </c:pt>
                <c:pt idx="1094">
                  <c:v>131.15153056128148</c:v>
                </c:pt>
                <c:pt idx="1095">
                  <c:v>133.10298484421966</c:v>
                </c:pt>
                <c:pt idx="1096">
                  <c:v>131.73451504227091</c:v>
                </c:pt>
                <c:pt idx="1097">
                  <c:v>132.55813953488371</c:v>
                </c:pt>
                <c:pt idx="1098">
                  <c:v>132.25302616165561</c:v>
                </c:pt>
                <c:pt idx="1099">
                  <c:v>131.44483895280732</c:v>
                </c:pt>
                <c:pt idx="1100">
                  <c:v>128.96488471981331</c:v>
                </c:pt>
                <c:pt idx="1101">
                  <c:v>128.08314339420465</c:v>
                </c:pt>
                <c:pt idx="1102">
                  <c:v>129.75491041835039</c:v>
                </c:pt>
                <c:pt idx="1103">
                  <c:v>130.72019469139053</c:v>
                </c:pt>
                <c:pt idx="1104">
                  <c:v>130.38693097718007</c:v>
                </c:pt>
                <c:pt idx="1105">
                  <c:v>130.83370413083551</c:v>
                </c:pt>
                <c:pt idx="1106">
                  <c:v>130.514969624874</c:v>
                </c:pt>
                <c:pt idx="1107">
                  <c:v>129.18282284354765</c:v>
                </c:pt>
                <c:pt idx="1108">
                  <c:v>130.87365945352016</c:v>
                </c:pt>
                <c:pt idx="1109">
                  <c:v>132.43282511373647</c:v>
                </c:pt>
                <c:pt idx="1110">
                  <c:v>132.44190586889206</c:v>
                </c:pt>
                <c:pt idx="1111">
                  <c:v>134.0274057190596</c:v>
                </c:pt>
                <c:pt idx="1112">
                  <c:v>134.0837064010243</c:v>
                </c:pt>
                <c:pt idx="1113">
                  <c:v>135.57567447308918</c:v>
                </c:pt>
                <c:pt idx="1114">
                  <c:v>135.5547887362313</c:v>
                </c:pt>
                <c:pt idx="1115">
                  <c:v>135.62198632438273</c:v>
                </c:pt>
                <c:pt idx="1116">
                  <c:v>136.25309880769686</c:v>
                </c:pt>
                <c:pt idx="1117">
                  <c:v>135.22424924856753</c:v>
                </c:pt>
                <c:pt idx="1118">
                  <c:v>134.00742805771728</c:v>
                </c:pt>
                <c:pt idx="1119">
                  <c:v>134.98996576555305</c:v>
                </c:pt>
                <c:pt idx="1120">
                  <c:v>134.18904316082924</c:v>
                </c:pt>
                <c:pt idx="1121">
                  <c:v>133.04850031328607</c:v>
                </c:pt>
                <c:pt idx="1122">
                  <c:v>133.81491604841858</c:v>
                </c:pt>
                <c:pt idx="1123">
                  <c:v>132.36653560110059</c:v>
                </c:pt>
                <c:pt idx="1124">
                  <c:v>134.13274247886454</c:v>
                </c:pt>
                <c:pt idx="1125">
                  <c:v>135.07441678850014</c:v>
                </c:pt>
                <c:pt idx="1126">
                  <c:v>137.02223876937606</c:v>
                </c:pt>
                <c:pt idx="1127">
                  <c:v>136.54459104819156</c:v>
                </c:pt>
                <c:pt idx="1128">
                  <c:v>137.37457206941329</c:v>
                </c:pt>
                <c:pt idx="1129">
                  <c:v>136.21495963604332</c:v>
                </c:pt>
                <c:pt idx="1130">
                  <c:v>136.82791060904626</c:v>
                </c:pt>
                <c:pt idx="1131">
                  <c:v>138.93737003169184</c:v>
                </c:pt>
                <c:pt idx="1132">
                  <c:v>139.33238288096038</c:v>
                </c:pt>
                <c:pt idx="1133">
                  <c:v>139.33238288096038</c:v>
                </c:pt>
                <c:pt idx="1134">
                  <c:v>139.11535283274156</c:v>
                </c:pt>
                <c:pt idx="1135">
                  <c:v>139.106272077586</c:v>
                </c:pt>
                <c:pt idx="1136">
                  <c:v>138.39888125096482</c:v>
                </c:pt>
                <c:pt idx="1137">
                  <c:v>138.95371539097192</c:v>
                </c:pt>
                <c:pt idx="1138">
                  <c:v>140.54193946768615</c:v>
                </c:pt>
                <c:pt idx="1139">
                  <c:v>140.3748535728231</c:v>
                </c:pt>
                <c:pt idx="1140">
                  <c:v>141.46545226701051</c:v>
                </c:pt>
                <c:pt idx="1141">
                  <c:v>141.86682164488798</c:v>
                </c:pt>
                <c:pt idx="1142">
                  <c:v>141.82686632220333</c:v>
                </c:pt>
                <c:pt idx="1143">
                  <c:v>140.25498760476921</c:v>
                </c:pt>
                <c:pt idx="1144">
                  <c:v>140.56373328005958</c:v>
                </c:pt>
                <c:pt idx="1145">
                  <c:v>141.4136919626236</c:v>
                </c:pt>
                <c:pt idx="1146">
                  <c:v>141.2239041798716</c:v>
                </c:pt>
                <c:pt idx="1147">
                  <c:v>141.68248231522932</c:v>
                </c:pt>
                <c:pt idx="1148">
                  <c:v>141.88861545726141</c:v>
                </c:pt>
                <c:pt idx="1149">
                  <c:v>142.37534393360153</c:v>
                </c:pt>
                <c:pt idx="1150">
                  <c:v>143.77559637859483</c:v>
                </c:pt>
                <c:pt idx="1151">
                  <c:v>143.71112301699009</c:v>
                </c:pt>
                <c:pt idx="1152">
                  <c:v>143.75743486828364</c:v>
                </c:pt>
                <c:pt idx="1153">
                  <c:v>143.99807487990702</c:v>
                </c:pt>
                <c:pt idx="1154">
                  <c:v>144.12974582966319</c:v>
                </c:pt>
                <c:pt idx="1155">
                  <c:v>144.58469166295868</c:v>
                </c:pt>
                <c:pt idx="1156">
                  <c:v>143.7964821154527</c:v>
                </c:pt>
                <c:pt idx="1157">
                  <c:v>143.5394967445493</c:v>
                </c:pt>
                <c:pt idx="1158">
                  <c:v>144.58832396502092</c:v>
                </c:pt>
                <c:pt idx="1159">
                  <c:v>145.90049308500494</c:v>
                </c:pt>
                <c:pt idx="1160">
                  <c:v>146.78768286370695</c:v>
                </c:pt>
                <c:pt idx="1161">
                  <c:v>147.03740363048593</c:v>
                </c:pt>
                <c:pt idx="1162">
                  <c:v>145.80423708035562</c:v>
                </c:pt>
                <c:pt idx="1163">
                  <c:v>146.14022502111274</c:v>
                </c:pt>
                <c:pt idx="1164">
                  <c:v>146.08029203708583</c:v>
                </c:pt>
                <c:pt idx="1165">
                  <c:v>145.3129682264377</c:v>
                </c:pt>
                <c:pt idx="1166">
                  <c:v>145.90412538706718</c:v>
                </c:pt>
                <c:pt idx="1167">
                  <c:v>145.8768831216004</c:v>
                </c:pt>
                <c:pt idx="1168">
                  <c:v>146.87213388665401</c:v>
                </c:pt>
                <c:pt idx="1169">
                  <c:v>146.17654804173515</c:v>
                </c:pt>
                <c:pt idx="1170">
                  <c:v>146.48892601908776</c:v>
                </c:pt>
                <c:pt idx="1171">
                  <c:v>146.60606776059498</c:v>
                </c:pt>
                <c:pt idx="1172">
                  <c:v>144.9806125877428</c:v>
                </c:pt>
                <c:pt idx="1173">
                  <c:v>144.87890813000007</c:v>
                </c:pt>
                <c:pt idx="1174">
                  <c:v>144.65552155317235</c:v>
                </c:pt>
                <c:pt idx="1175">
                  <c:v>144.4621014683581</c:v>
                </c:pt>
                <c:pt idx="1176">
                  <c:v>144.66006193075017</c:v>
                </c:pt>
                <c:pt idx="1177">
                  <c:v>144.46664184593592</c:v>
                </c:pt>
                <c:pt idx="1178">
                  <c:v>145.60990892002579</c:v>
                </c:pt>
                <c:pt idx="1179">
                  <c:v>144.7517775578217</c:v>
                </c:pt>
                <c:pt idx="1180">
                  <c:v>143.24164797544566</c:v>
                </c:pt>
                <c:pt idx="1181">
                  <c:v>141.63253816187353</c:v>
                </c:pt>
                <c:pt idx="1182">
                  <c:v>141.67340156007373</c:v>
                </c:pt>
                <c:pt idx="1183">
                  <c:v>138.92193274792731</c:v>
                </c:pt>
                <c:pt idx="1184">
                  <c:v>139.40593699772072</c:v>
                </c:pt>
                <c:pt idx="1185">
                  <c:v>140.6899557767224</c:v>
                </c:pt>
                <c:pt idx="1186">
                  <c:v>139.63477202764182</c:v>
                </c:pt>
                <c:pt idx="1187">
                  <c:v>141.73515069513181</c:v>
                </c:pt>
                <c:pt idx="1188">
                  <c:v>139.9880134031946</c:v>
                </c:pt>
                <c:pt idx="1189">
                  <c:v>140.10606322021738</c:v>
                </c:pt>
                <c:pt idx="1190">
                  <c:v>139.4994687758234</c:v>
                </c:pt>
                <c:pt idx="1191">
                  <c:v>141.59349091470446</c:v>
                </c:pt>
                <c:pt idx="1192">
                  <c:v>142.04843674799997</c:v>
                </c:pt>
                <c:pt idx="1193">
                  <c:v>142.82847361586587</c:v>
                </c:pt>
                <c:pt idx="1194">
                  <c:v>141.39643852782797</c:v>
                </c:pt>
                <c:pt idx="1195">
                  <c:v>141.46091188943274</c:v>
                </c:pt>
                <c:pt idx="1196">
                  <c:v>142.4116669542239</c:v>
                </c:pt>
                <c:pt idx="1197">
                  <c:v>140.95511382726588</c:v>
                </c:pt>
                <c:pt idx="1198">
                  <c:v>139.29151948276021</c:v>
                </c:pt>
                <c:pt idx="1199">
                  <c:v>137.89308318879799</c:v>
                </c:pt>
                <c:pt idx="1200">
                  <c:v>138.19728848651053</c:v>
                </c:pt>
                <c:pt idx="1201">
                  <c:v>137.80772409033534</c:v>
                </c:pt>
                <c:pt idx="1202">
                  <c:v>136.15139434995413</c:v>
                </c:pt>
                <c:pt idx="1203">
                  <c:v>134.13455862989568</c:v>
                </c:pt>
                <c:pt idx="1204">
                  <c:v>133.74590230923602</c:v>
                </c:pt>
                <c:pt idx="1205">
                  <c:v>135.83265984399262</c:v>
                </c:pt>
                <c:pt idx="1206">
                  <c:v>134.92640047946387</c:v>
                </c:pt>
                <c:pt idx="1207">
                  <c:v>136.44561081699553</c:v>
                </c:pt>
                <c:pt idx="1208">
                  <c:v>136.99499650390928</c:v>
                </c:pt>
                <c:pt idx="1209">
                  <c:v>136.65174395902761</c:v>
                </c:pt>
                <c:pt idx="1210">
                  <c:v>137.75142340837064</c:v>
                </c:pt>
                <c:pt idx="1211">
                  <c:v>138.38980049580923</c:v>
                </c:pt>
                <c:pt idx="1212">
                  <c:v>138.2227146009462</c:v>
                </c:pt>
                <c:pt idx="1213">
                  <c:v>139.65565776449972</c:v>
                </c:pt>
                <c:pt idx="1214">
                  <c:v>138.60864669505918</c:v>
                </c:pt>
                <c:pt idx="1215">
                  <c:v>140.6145855089309</c:v>
                </c:pt>
                <c:pt idx="1216">
                  <c:v>141.53174177964638</c:v>
                </c:pt>
                <c:pt idx="1217">
                  <c:v>141.84502783251455</c:v>
                </c:pt>
                <c:pt idx="1218">
                  <c:v>140.56736558212182</c:v>
                </c:pt>
                <c:pt idx="1219">
                  <c:v>140.97327533757709</c:v>
                </c:pt>
                <c:pt idx="1220">
                  <c:v>140.91425042906567</c:v>
                </c:pt>
                <c:pt idx="1221">
                  <c:v>140.86249012467877</c:v>
                </c:pt>
                <c:pt idx="1222">
                  <c:v>141.80053213225213</c:v>
                </c:pt>
                <c:pt idx="1223">
                  <c:v>143.02825022928906</c:v>
                </c:pt>
                <c:pt idx="1224">
                  <c:v>143.1399435177029</c:v>
                </c:pt>
                <c:pt idx="1225">
                  <c:v>142.66865232512737</c:v>
                </c:pt>
                <c:pt idx="1226">
                  <c:v>141.82777439771888</c:v>
                </c:pt>
                <c:pt idx="1227">
                  <c:v>141.43730192602817</c:v>
                </c:pt>
                <c:pt idx="1228">
                  <c:v>141.15761466723572</c:v>
                </c:pt>
                <c:pt idx="1229">
                  <c:v>140.77077449760722</c:v>
                </c:pt>
                <c:pt idx="1230">
                  <c:v>140.35305976044967</c:v>
                </c:pt>
                <c:pt idx="1231">
                  <c:v>139.78097218564696</c:v>
                </c:pt>
                <c:pt idx="1232">
                  <c:v>140.4956276163926</c:v>
                </c:pt>
                <c:pt idx="1233">
                  <c:v>141.27475640874295</c:v>
                </c:pt>
                <c:pt idx="1234">
                  <c:v>141.43457769948148</c:v>
                </c:pt>
                <c:pt idx="1235">
                  <c:v>141.24024953915168</c:v>
                </c:pt>
                <c:pt idx="1236">
                  <c:v>139.18345849640858</c:v>
                </c:pt>
                <c:pt idx="1237">
                  <c:v>140.4202573486011</c:v>
                </c:pt>
                <c:pt idx="1238">
                  <c:v>138.84928670668253</c:v>
                </c:pt>
                <c:pt idx="1239">
                  <c:v>139.58391979877047</c:v>
                </c:pt>
                <c:pt idx="1240">
                  <c:v>139.0309018097945</c:v>
                </c:pt>
                <c:pt idx="1241">
                  <c:v>140.45748844473906</c:v>
                </c:pt>
                <c:pt idx="1242">
                  <c:v>138.69037349145955</c:v>
                </c:pt>
                <c:pt idx="1243">
                  <c:v>135.1770293217584</c:v>
                </c:pt>
                <c:pt idx="1244">
                  <c:v>136.44742696802666</c:v>
                </c:pt>
                <c:pt idx="1245">
                  <c:v>136.5119003296314</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c:formatCode>
                <c:ptCount val="1246"/>
                <c:pt idx="0">
                  <c:v>40148</c:v>
                </c:pt>
                <c:pt idx="1">
                  <c:v>40149</c:v>
                </c:pt>
                <c:pt idx="2">
                  <c:v>40150</c:v>
                </c:pt>
                <c:pt idx="3">
                  <c:v>40151</c:v>
                </c:pt>
                <c:pt idx="4">
                  <c:v>40154</c:v>
                </c:pt>
                <c:pt idx="5">
                  <c:v>40155</c:v>
                </c:pt>
                <c:pt idx="6">
                  <c:v>40156</c:v>
                </c:pt>
                <c:pt idx="7">
                  <c:v>40157</c:v>
                </c:pt>
                <c:pt idx="8">
                  <c:v>40158</c:v>
                </c:pt>
                <c:pt idx="9">
                  <c:v>40161</c:v>
                </c:pt>
                <c:pt idx="10">
                  <c:v>40162</c:v>
                </c:pt>
                <c:pt idx="11">
                  <c:v>40163</c:v>
                </c:pt>
                <c:pt idx="12">
                  <c:v>40164</c:v>
                </c:pt>
                <c:pt idx="13">
                  <c:v>40165</c:v>
                </c:pt>
                <c:pt idx="14">
                  <c:v>40168</c:v>
                </c:pt>
                <c:pt idx="15">
                  <c:v>40169</c:v>
                </c:pt>
                <c:pt idx="16">
                  <c:v>40170</c:v>
                </c:pt>
                <c:pt idx="17">
                  <c:v>40171</c:v>
                </c:pt>
                <c:pt idx="18">
                  <c:v>40175</c:v>
                </c:pt>
                <c:pt idx="19">
                  <c:v>40176</c:v>
                </c:pt>
                <c:pt idx="20">
                  <c:v>40177</c:v>
                </c:pt>
                <c:pt idx="21">
                  <c:v>40178</c:v>
                </c:pt>
                <c:pt idx="22">
                  <c:v>40182</c:v>
                </c:pt>
                <c:pt idx="23">
                  <c:v>40183</c:v>
                </c:pt>
                <c:pt idx="24">
                  <c:v>40184</c:v>
                </c:pt>
                <c:pt idx="25">
                  <c:v>40185</c:v>
                </c:pt>
                <c:pt idx="26">
                  <c:v>40186</c:v>
                </c:pt>
                <c:pt idx="27">
                  <c:v>40189</c:v>
                </c:pt>
                <c:pt idx="28">
                  <c:v>40190</c:v>
                </c:pt>
                <c:pt idx="29">
                  <c:v>40191</c:v>
                </c:pt>
                <c:pt idx="30">
                  <c:v>40192</c:v>
                </c:pt>
                <c:pt idx="31">
                  <c:v>40193</c:v>
                </c:pt>
                <c:pt idx="32">
                  <c:v>40196</c:v>
                </c:pt>
                <c:pt idx="33">
                  <c:v>40197</c:v>
                </c:pt>
                <c:pt idx="34">
                  <c:v>40198</c:v>
                </c:pt>
                <c:pt idx="35">
                  <c:v>40199</c:v>
                </c:pt>
                <c:pt idx="36">
                  <c:v>40200</c:v>
                </c:pt>
                <c:pt idx="37">
                  <c:v>40203</c:v>
                </c:pt>
                <c:pt idx="38">
                  <c:v>40204</c:v>
                </c:pt>
                <c:pt idx="39">
                  <c:v>40205</c:v>
                </c:pt>
                <c:pt idx="40">
                  <c:v>40206</c:v>
                </c:pt>
                <c:pt idx="41">
                  <c:v>40207</c:v>
                </c:pt>
                <c:pt idx="42">
                  <c:v>40210</c:v>
                </c:pt>
                <c:pt idx="43">
                  <c:v>40211</c:v>
                </c:pt>
                <c:pt idx="44">
                  <c:v>40212</c:v>
                </c:pt>
                <c:pt idx="45">
                  <c:v>40213</c:v>
                </c:pt>
                <c:pt idx="46">
                  <c:v>40214</c:v>
                </c:pt>
                <c:pt idx="47">
                  <c:v>40217</c:v>
                </c:pt>
                <c:pt idx="48">
                  <c:v>40218</c:v>
                </c:pt>
                <c:pt idx="49">
                  <c:v>40219</c:v>
                </c:pt>
                <c:pt idx="50">
                  <c:v>40220</c:v>
                </c:pt>
                <c:pt idx="51">
                  <c:v>40221</c:v>
                </c:pt>
                <c:pt idx="52">
                  <c:v>40224</c:v>
                </c:pt>
                <c:pt idx="53">
                  <c:v>40225</c:v>
                </c:pt>
                <c:pt idx="54">
                  <c:v>40226</c:v>
                </c:pt>
                <c:pt idx="55">
                  <c:v>40227</c:v>
                </c:pt>
                <c:pt idx="56">
                  <c:v>40228</c:v>
                </c:pt>
                <c:pt idx="57">
                  <c:v>40231</c:v>
                </c:pt>
                <c:pt idx="58">
                  <c:v>40232</c:v>
                </c:pt>
                <c:pt idx="59">
                  <c:v>40233</c:v>
                </c:pt>
                <c:pt idx="60">
                  <c:v>40234</c:v>
                </c:pt>
                <c:pt idx="61">
                  <c:v>40235</c:v>
                </c:pt>
                <c:pt idx="62">
                  <c:v>40238</c:v>
                </c:pt>
                <c:pt idx="63">
                  <c:v>40239</c:v>
                </c:pt>
                <c:pt idx="64">
                  <c:v>40240</c:v>
                </c:pt>
                <c:pt idx="65">
                  <c:v>40241</c:v>
                </c:pt>
                <c:pt idx="66">
                  <c:v>40242</c:v>
                </c:pt>
                <c:pt idx="67">
                  <c:v>40245</c:v>
                </c:pt>
                <c:pt idx="68">
                  <c:v>40246</c:v>
                </c:pt>
                <c:pt idx="69">
                  <c:v>40247</c:v>
                </c:pt>
                <c:pt idx="70">
                  <c:v>40248</c:v>
                </c:pt>
                <c:pt idx="71">
                  <c:v>40249</c:v>
                </c:pt>
                <c:pt idx="72">
                  <c:v>40252</c:v>
                </c:pt>
                <c:pt idx="73">
                  <c:v>40253</c:v>
                </c:pt>
                <c:pt idx="74">
                  <c:v>40254</c:v>
                </c:pt>
                <c:pt idx="75">
                  <c:v>40255</c:v>
                </c:pt>
                <c:pt idx="76">
                  <c:v>40256</c:v>
                </c:pt>
                <c:pt idx="77">
                  <c:v>40259</c:v>
                </c:pt>
                <c:pt idx="78">
                  <c:v>40260</c:v>
                </c:pt>
                <c:pt idx="79">
                  <c:v>40261</c:v>
                </c:pt>
                <c:pt idx="80">
                  <c:v>40262</c:v>
                </c:pt>
                <c:pt idx="81">
                  <c:v>40263</c:v>
                </c:pt>
                <c:pt idx="82">
                  <c:v>40266</c:v>
                </c:pt>
                <c:pt idx="83">
                  <c:v>40267</c:v>
                </c:pt>
                <c:pt idx="84">
                  <c:v>40268</c:v>
                </c:pt>
                <c:pt idx="85">
                  <c:v>40269</c:v>
                </c:pt>
                <c:pt idx="86">
                  <c:v>40274</c:v>
                </c:pt>
                <c:pt idx="87">
                  <c:v>40275</c:v>
                </c:pt>
                <c:pt idx="88">
                  <c:v>40276</c:v>
                </c:pt>
                <c:pt idx="89">
                  <c:v>40277</c:v>
                </c:pt>
                <c:pt idx="90">
                  <c:v>40280</c:v>
                </c:pt>
                <c:pt idx="91">
                  <c:v>40281</c:v>
                </c:pt>
                <c:pt idx="92">
                  <c:v>40282</c:v>
                </c:pt>
                <c:pt idx="93">
                  <c:v>40283</c:v>
                </c:pt>
                <c:pt idx="94">
                  <c:v>40284</c:v>
                </c:pt>
                <c:pt idx="95">
                  <c:v>40287</c:v>
                </c:pt>
                <c:pt idx="96">
                  <c:v>40288</c:v>
                </c:pt>
                <c:pt idx="97">
                  <c:v>40289</c:v>
                </c:pt>
                <c:pt idx="98">
                  <c:v>40290</c:v>
                </c:pt>
                <c:pt idx="99">
                  <c:v>40291</c:v>
                </c:pt>
                <c:pt idx="100">
                  <c:v>40294</c:v>
                </c:pt>
                <c:pt idx="101">
                  <c:v>40295</c:v>
                </c:pt>
                <c:pt idx="102">
                  <c:v>40296</c:v>
                </c:pt>
                <c:pt idx="103">
                  <c:v>40297</c:v>
                </c:pt>
                <c:pt idx="104">
                  <c:v>40298</c:v>
                </c:pt>
                <c:pt idx="105">
                  <c:v>40301</c:v>
                </c:pt>
                <c:pt idx="106">
                  <c:v>40302</c:v>
                </c:pt>
                <c:pt idx="107">
                  <c:v>40303</c:v>
                </c:pt>
                <c:pt idx="108">
                  <c:v>40304</c:v>
                </c:pt>
                <c:pt idx="109">
                  <c:v>40305</c:v>
                </c:pt>
                <c:pt idx="110">
                  <c:v>40308</c:v>
                </c:pt>
                <c:pt idx="111">
                  <c:v>40309</c:v>
                </c:pt>
                <c:pt idx="112">
                  <c:v>40310</c:v>
                </c:pt>
                <c:pt idx="113">
                  <c:v>40311</c:v>
                </c:pt>
                <c:pt idx="114">
                  <c:v>40312</c:v>
                </c:pt>
                <c:pt idx="115">
                  <c:v>40315</c:v>
                </c:pt>
                <c:pt idx="116">
                  <c:v>40316</c:v>
                </c:pt>
                <c:pt idx="117">
                  <c:v>40317</c:v>
                </c:pt>
                <c:pt idx="118">
                  <c:v>40318</c:v>
                </c:pt>
                <c:pt idx="119">
                  <c:v>40319</c:v>
                </c:pt>
                <c:pt idx="120">
                  <c:v>40322</c:v>
                </c:pt>
                <c:pt idx="121">
                  <c:v>40323</c:v>
                </c:pt>
                <c:pt idx="122">
                  <c:v>40324</c:v>
                </c:pt>
                <c:pt idx="123">
                  <c:v>40325</c:v>
                </c:pt>
                <c:pt idx="124">
                  <c:v>40326</c:v>
                </c:pt>
                <c:pt idx="125">
                  <c:v>40329</c:v>
                </c:pt>
                <c:pt idx="126">
                  <c:v>40330</c:v>
                </c:pt>
                <c:pt idx="127">
                  <c:v>40331</c:v>
                </c:pt>
                <c:pt idx="128">
                  <c:v>40332</c:v>
                </c:pt>
                <c:pt idx="129">
                  <c:v>40333</c:v>
                </c:pt>
                <c:pt idx="130">
                  <c:v>40336</c:v>
                </c:pt>
                <c:pt idx="131">
                  <c:v>40337</c:v>
                </c:pt>
                <c:pt idx="132">
                  <c:v>40338</c:v>
                </c:pt>
                <c:pt idx="133">
                  <c:v>40339</c:v>
                </c:pt>
                <c:pt idx="134">
                  <c:v>40340</c:v>
                </c:pt>
                <c:pt idx="135">
                  <c:v>40343</c:v>
                </c:pt>
                <c:pt idx="136">
                  <c:v>40344</c:v>
                </c:pt>
                <c:pt idx="137">
                  <c:v>40345</c:v>
                </c:pt>
                <c:pt idx="138">
                  <c:v>40346</c:v>
                </c:pt>
                <c:pt idx="139">
                  <c:v>40347</c:v>
                </c:pt>
                <c:pt idx="140">
                  <c:v>40350</c:v>
                </c:pt>
                <c:pt idx="141">
                  <c:v>40351</c:v>
                </c:pt>
                <c:pt idx="142">
                  <c:v>40352</c:v>
                </c:pt>
                <c:pt idx="143">
                  <c:v>40353</c:v>
                </c:pt>
                <c:pt idx="144">
                  <c:v>40354</c:v>
                </c:pt>
                <c:pt idx="145">
                  <c:v>40357</c:v>
                </c:pt>
                <c:pt idx="146">
                  <c:v>40358</c:v>
                </c:pt>
                <c:pt idx="147">
                  <c:v>40359</c:v>
                </c:pt>
                <c:pt idx="148">
                  <c:v>40360</c:v>
                </c:pt>
                <c:pt idx="149">
                  <c:v>40361</c:v>
                </c:pt>
                <c:pt idx="150">
                  <c:v>40364</c:v>
                </c:pt>
                <c:pt idx="151">
                  <c:v>40365</c:v>
                </c:pt>
                <c:pt idx="152">
                  <c:v>40366</c:v>
                </c:pt>
                <c:pt idx="153">
                  <c:v>40367</c:v>
                </c:pt>
                <c:pt idx="154">
                  <c:v>40368</c:v>
                </c:pt>
                <c:pt idx="155">
                  <c:v>40371</c:v>
                </c:pt>
                <c:pt idx="156">
                  <c:v>40372</c:v>
                </c:pt>
                <c:pt idx="157">
                  <c:v>40373</c:v>
                </c:pt>
                <c:pt idx="158">
                  <c:v>40374</c:v>
                </c:pt>
                <c:pt idx="159">
                  <c:v>40375</c:v>
                </c:pt>
                <c:pt idx="160">
                  <c:v>40378</c:v>
                </c:pt>
                <c:pt idx="161">
                  <c:v>40379</c:v>
                </c:pt>
                <c:pt idx="162">
                  <c:v>40380</c:v>
                </c:pt>
                <c:pt idx="163">
                  <c:v>40381</c:v>
                </c:pt>
                <c:pt idx="164">
                  <c:v>40382</c:v>
                </c:pt>
                <c:pt idx="165">
                  <c:v>40385</c:v>
                </c:pt>
                <c:pt idx="166">
                  <c:v>40386</c:v>
                </c:pt>
                <c:pt idx="167">
                  <c:v>40387</c:v>
                </c:pt>
                <c:pt idx="168">
                  <c:v>40388</c:v>
                </c:pt>
                <c:pt idx="169">
                  <c:v>40389</c:v>
                </c:pt>
                <c:pt idx="170">
                  <c:v>40392</c:v>
                </c:pt>
                <c:pt idx="171">
                  <c:v>40393</c:v>
                </c:pt>
                <c:pt idx="172">
                  <c:v>40394</c:v>
                </c:pt>
                <c:pt idx="173">
                  <c:v>40395</c:v>
                </c:pt>
                <c:pt idx="174">
                  <c:v>40396</c:v>
                </c:pt>
                <c:pt idx="175">
                  <c:v>40399</c:v>
                </c:pt>
                <c:pt idx="176">
                  <c:v>40400</c:v>
                </c:pt>
                <c:pt idx="177">
                  <c:v>40401</c:v>
                </c:pt>
                <c:pt idx="178">
                  <c:v>40402</c:v>
                </c:pt>
                <c:pt idx="179">
                  <c:v>40403</c:v>
                </c:pt>
                <c:pt idx="180">
                  <c:v>40406</c:v>
                </c:pt>
                <c:pt idx="181">
                  <c:v>40407</c:v>
                </c:pt>
                <c:pt idx="182">
                  <c:v>40408</c:v>
                </c:pt>
                <c:pt idx="183">
                  <c:v>40409</c:v>
                </c:pt>
                <c:pt idx="184">
                  <c:v>40410</c:v>
                </c:pt>
                <c:pt idx="185">
                  <c:v>40413</c:v>
                </c:pt>
                <c:pt idx="186">
                  <c:v>40414</c:v>
                </c:pt>
                <c:pt idx="187">
                  <c:v>40415</c:v>
                </c:pt>
                <c:pt idx="188">
                  <c:v>40416</c:v>
                </c:pt>
                <c:pt idx="189">
                  <c:v>40417</c:v>
                </c:pt>
                <c:pt idx="190">
                  <c:v>40420</c:v>
                </c:pt>
                <c:pt idx="191">
                  <c:v>40421</c:v>
                </c:pt>
                <c:pt idx="192">
                  <c:v>40422</c:v>
                </c:pt>
                <c:pt idx="193">
                  <c:v>40423</c:v>
                </c:pt>
                <c:pt idx="194">
                  <c:v>40424</c:v>
                </c:pt>
                <c:pt idx="195">
                  <c:v>40427</c:v>
                </c:pt>
                <c:pt idx="196">
                  <c:v>40428</c:v>
                </c:pt>
                <c:pt idx="197">
                  <c:v>40429</c:v>
                </c:pt>
                <c:pt idx="198">
                  <c:v>40430</c:v>
                </c:pt>
                <c:pt idx="199">
                  <c:v>40431</c:v>
                </c:pt>
                <c:pt idx="200">
                  <c:v>40434</c:v>
                </c:pt>
                <c:pt idx="201">
                  <c:v>40435</c:v>
                </c:pt>
                <c:pt idx="202">
                  <c:v>40436</c:v>
                </c:pt>
                <c:pt idx="203">
                  <c:v>40437</c:v>
                </c:pt>
                <c:pt idx="204">
                  <c:v>40438</c:v>
                </c:pt>
                <c:pt idx="205">
                  <c:v>40441</c:v>
                </c:pt>
                <c:pt idx="206">
                  <c:v>40442</c:v>
                </c:pt>
                <c:pt idx="207">
                  <c:v>40443</c:v>
                </c:pt>
                <c:pt idx="208">
                  <c:v>40444</c:v>
                </c:pt>
                <c:pt idx="209">
                  <c:v>40445</c:v>
                </c:pt>
                <c:pt idx="210">
                  <c:v>40448</c:v>
                </c:pt>
                <c:pt idx="211">
                  <c:v>40449</c:v>
                </c:pt>
                <c:pt idx="212">
                  <c:v>40450</c:v>
                </c:pt>
                <c:pt idx="213">
                  <c:v>40451</c:v>
                </c:pt>
                <c:pt idx="214">
                  <c:v>40452</c:v>
                </c:pt>
                <c:pt idx="215">
                  <c:v>40455</c:v>
                </c:pt>
                <c:pt idx="216">
                  <c:v>40456</c:v>
                </c:pt>
                <c:pt idx="217">
                  <c:v>40457</c:v>
                </c:pt>
                <c:pt idx="218">
                  <c:v>40458</c:v>
                </c:pt>
                <c:pt idx="219">
                  <c:v>40459</c:v>
                </c:pt>
                <c:pt idx="220">
                  <c:v>40462</c:v>
                </c:pt>
                <c:pt idx="221">
                  <c:v>40463</c:v>
                </c:pt>
                <c:pt idx="222">
                  <c:v>40464</c:v>
                </c:pt>
                <c:pt idx="223">
                  <c:v>40465</c:v>
                </c:pt>
                <c:pt idx="224">
                  <c:v>40466</c:v>
                </c:pt>
                <c:pt idx="225">
                  <c:v>40469</c:v>
                </c:pt>
                <c:pt idx="226">
                  <c:v>40470</c:v>
                </c:pt>
                <c:pt idx="227">
                  <c:v>40471</c:v>
                </c:pt>
                <c:pt idx="228">
                  <c:v>40472</c:v>
                </c:pt>
                <c:pt idx="229">
                  <c:v>40473</c:v>
                </c:pt>
                <c:pt idx="230">
                  <c:v>40476</c:v>
                </c:pt>
                <c:pt idx="231">
                  <c:v>40477</c:v>
                </c:pt>
                <c:pt idx="232">
                  <c:v>40478</c:v>
                </c:pt>
                <c:pt idx="233">
                  <c:v>40479</c:v>
                </c:pt>
                <c:pt idx="234">
                  <c:v>40480</c:v>
                </c:pt>
                <c:pt idx="235">
                  <c:v>40483</c:v>
                </c:pt>
                <c:pt idx="236">
                  <c:v>40484</c:v>
                </c:pt>
                <c:pt idx="237">
                  <c:v>40485</c:v>
                </c:pt>
                <c:pt idx="238">
                  <c:v>40486</c:v>
                </c:pt>
                <c:pt idx="239">
                  <c:v>40487</c:v>
                </c:pt>
                <c:pt idx="240">
                  <c:v>40490</c:v>
                </c:pt>
                <c:pt idx="241">
                  <c:v>40491</c:v>
                </c:pt>
                <c:pt idx="242">
                  <c:v>40492</c:v>
                </c:pt>
                <c:pt idx="243">
                  <c:v>40493</c:v>
                </c:pt>
                <c:pt idx="244">
                  <c:v>40494</c:v>
                </c:pt>
                <c:pt idx="245">
                  <c:v>40497</c:v>
                </c:pt>
                <c:pt idx="246">
                  <c:v>40498</c:v>
                </c:pt>
                <c:pt idx="247">
                  <c:v>40499</c:v>
                </c:pt>
                <c:pt idx="248">
                  <c:v>40500</c:v>
                </c:pt>
                <c:pt idx="249">
                  <c:v>40501</c:v>
                </c:pt>
                <c:pt idx="250">
                  <c:v>40504</c:v>
                </c:pt>
                <c:pt idx="251">
                  <c:v>40505</c:v>
                </c:pt>
                <c:pt idx="252">
                  <c:v>40506</c:v>
                </c:pt>
                <c:pt idx="253">
                  <c:v>40507</c:v>
                </c:pt>
                <c:pt idx="254">
                  <c:v>40508</c:v>
                </c:pt>
                <c:pt idx="255">
                  <c:v>40511</c:v>
                </c:pt>
                <c:pt idx="256">
                  <c:v>40512</c:v>
                </c:pt>
                <c:pt idx="257">
                  <c:v>40513</c:v>
                </c:pt>
                <c:pt idx="258">
                  <c:v>40514</c:v>
                </c:pt>
                <c:pt idx="259">
                  <c:v>40515</c:v>
                </c:pt>
                <c:pt idx="260">
                  <c:v>40518</c:v>
                </c:pt>
                <c:pt idx="261">
                  <c:v>40519</c:v>
                </c:pt>
                <c:pt idx="262">
                  <c:v>40520</c:v>
                </c:pt>
                <c:pt idx="263">
                  <c:v>40521</c:v>
                </c:pt>
                <c:pt idx="264">
                  <c:v>40522</c:v>
                </c:pt>
                <c:pt idx="265">
                  <c:v>40525</c:v>
                </c:pt>
                <c:pt idx="266">
                  <c:v>40526</c:v>
                </c:pt>
                <c:pt idx="267">
                  <c:v>40527</c:v>
                </c:pt>
                <c:pt idx="268">
                  <c:v>40528</c:v>
                </c:pt>
                <c:pt idx="269">
                  <c:v>40529</c:v>
                </c:pt>
                <c:pt idx="270">
                  <c:v>40532</c:v>
                </c:pt>
                <c:pt idx="271">
                  <c:v>40533</c:v>
                </c:pt>
                <c:pt idx="272">
                  <c:v>40534</c:v>
                </c:pt>
                <c:pt idx="273">
                  <c:v>40535</c:v>
                </c:pt>
                <c:pt idx="274">
                  <c:v>40536</c:v>
                </c:pt>
                <c:pt idx="275">
                  <c:v>40539</c:v>
                </c:pt>
                <c:pt idx="276">
                  <c:v>40540</c:v>
                </c:pt>
                <c:pt idx="277">
                  <c:v>40541</c:v>
                </c:pt>
                <c:pt idx="278">
                  <c:v>40542</c:v>
                </c:pt>
                <c:pt idx="279">
                  <c:v>40543</c:v>
                </c:pt>
                <c:pt idx="280">
                  <c:v>40546</c:v>
                </c:pt>
                <c:pt idx="281">
                  <c:v>40547</c:v>
                </c:pt>
                <c:pt idx="282">
                  <c:v>40548</c:v>
                </c:pt>
                <c:pt idx="283">
                  <c:v>40549</c:v>
                </c:pt>
                <c:pt idx="284">
                  <c:v>40550</c:v>
                </c:pt>
                <c:pt idx="285">
                  <c:v>40553</c:v>
                </c:pt>
                <c:pt idx="286">
                  <c:v>40554</c:v>
                </c:pt>
                <c:pt idx="287">
                  <c:v>40555</c:v>
                </c:pt>
                <c:pt idx="288">
                  <c:v>40556</c:v>
                </c:pt>
                <c:pt idx="289">
                  <c:v>40557</c:v>
                </c:pt>
                <c:pt idx="290">
                  <c:v>40560</c:v>
                </c:pt>
                <c:pt idx="291">
                  <c:v>40561</c:v>
                </c:pt>
                <c:pt idx="292">
                  <c:v>40562</c:v>
                </c:pt>
                <c:pt idx="293">
                  <c:v>40563</c:v>
                </c:pt>
                <c:pt idx="294">
                  <c:v>40564</c:v>
                </c:pt>
                <c:pt idx="295">
                  <c:v>40567</c:v>
                </c:pt>
                <c:pt idx="296">
                  <c:v>40568</c:v>
                </c:pt>
                <c:pt idx="297">
                  <c:v>40569</c:v>
                </c:pt>
                <c:pt idx="298">
                  <c:v>40570</c:v>
                </c:pt>
                <c:pt idx="299">
                  <c:v>40571</c:v>
                </c:pt>
                <c:pt idx="300">
                  <c:v>40574</c:v>
                </c:pt>
                <c:pt idx="301">
                  <c:v>40575</c:v>
                </c:pt>
                <c:pt idx="302">
                  <c:v>40576</c:v>
                </c:pt>
                <c:pt idx="303">
                  <c:v>40577</c:v>
                </c:pt>
                <c:pt idx="304">
                  <c:v>40578</c:v>
                </c:pt>
                <c:pt idx="305">
                  <c:v>40581</c:v>
                </c:pt>
                <c:pt idx="306">
                  <c:v>40582</c:v>
                </c:pt>
                <c:pt idx="307">
                  <c:v>40583</c:v>
                </c:pt>
                <c:pt idx="308">
                  <c:v>40584</c:v>
                </c:pt>
                <c:pt idx="309">
                  <c:v>40585</c:v>
                </c:pt>
                <c:pt idx="310">
                  <c:v>40588</c:v>
                </c:pt>
                <c:pt idx="311">
                  <c:v>40589</c:v>
                </c:pt>
                <c:pt idx="312">
                  <c:v>40590</c:v>
                </c:pt>
                <c:pt idx="313">
                  <c:v>40591</c:v>
                </c:pt>
                <c:pt idx="314">
                  <c:v>40592</c:v>
                </c:pt>
                <c:pt idx="315">
                  <c:v>40595</c:v>
                </c:pt>
                <c:pt idx="316">
                  <c:v>40596</c:v>
                </c:pt>
                <c:pt idx="317">
                  <c:v>40597</c:v>
                </c:pt>
                <c:pt idx="318">
                  <c:v>40598</c:v>
                </c:pt>
                <c:pt idx="319">
                  <c:v>40599</c:v>
                </c:pt>
                <c:pt idx="320">
                  <c:v>40602</c:v>
                </c:pt>
                <c:pt idx="321">
                  <c:v>40603</c:v>
                </c:pt>
                <c:pt idx="322">
                  <c:v>40604</c:v>
                </c:pt>
                <c:pt idx="323">
                  <c:v>40605</c:v>
                </c:pt>
                <c:pt idx="324">
                  <c:v>40606</c:v>
                </c:pt>
                <c:pt idx="325">
                  <c:v>40609</c:v>
                </c:pt>
                <c:pt idx="326">
                  <c:v>40610</c:v>
                </c:pt>
                <c:pt idx="327">
                  <c:v>40611</c:v>
                </c:pt>
                <c:pt idx="328">
                  <c:v>40612</c:v>
                </c:pt>
                <c:pt idx="329">
                  <c:v>40613</c:v>
                </c:pt>
                <c:pt idx="330">
                  <c:v>40616</c:v>
                </c:pt>
                <c:pt idx="331">
                  <c:v>40617</c:v>
                </c:pt>
                <c:pt idx="332">
                  <c:v>40618</c:v>
                </c:pt>
                <c:pt idx="333">
                  <c:v>40619</c:v>
                </c:pt>
                <c:pt idx="334">
                  <c:v>40620</c:v>
                </c:pt>
                <c:pt idx="335">
                  <c:v>40623</c:v>
                </c:pt>
                <c:pt idx="336">
                  <c:v>40624</c:v>
                </c:pt>
                <c:pt idx="337">
                  <c:v>40625</c:v>
                </c:pt>
                <c:pt idx="338">
                  <c:v>40626</c:v>
                </c:pt>
                <c:pt idx="339">
                  <c:v>40627</c:v>
                </c:pt>
                <c:pt idx="340">
                  <c:v>40630</c:v>
                </c:pt>
                <c:pt idx="341">
                  <c:v>40631</c:v>
                </c:pt>
                <c:pt idx="342">
                  <c:v>40632</c:v>
                </c:pt>
                <c:pt idx="343">
                  <c:v>40633</c:v>
                </c:pt>
                <c:pt idx="344">
                  <c:v>40634</c:v>
                </c:pt>
                <c:pt idx="345">
                  <c:v>40637</c:v>
                </c:pt>
                <c:pt idx="346">
                  <c:v>40638</c:v>
                </c:pt>
                <c:pt idx="347">
                  <c:v>40639</c:v>
                </c:pt>
                <c:pt idx="348">
                  <c:v>40640</c:v>
                </c:pt>
                <c:pt idx="349">
                  <c:v>40641</c:v>
                </c:pt>
                <c:pt idx="350">
                  <c:v>40644</c:v>
                </c:pt>
                <c:pt idx="351">
                  <c:v>40645</c:v>
                </c:pt>
                <c:pt idx="352">
                  <c:v>40646</c:v>
                </c:pt>
                <c:pt idx="353">
                  <c:v>40647</c:v>
                </c:pt>
                <c:pt idx="354">
                  <c:v>40648</c:v>
                </c:pt>
                <c:pt idx="355">
                  <c:v>40651</c:v>
                </c:pt>
                <c:pt idx="356">
                  <c:v>40652</c:v>
                </c:pt>
                <c:pt idx="357">
                  <c:v>40653</c:v>
                </c:pt>
                <c:pt idx="358">
                  <c:v>40654</c:v>
                </c:pt>
                <c:pt idx="359">
                  <c:v>40659</c:v>
                </c:pt>
                <c:pt idx="360">
                  <c:v>40660</c:v>
                </c:pt>
                <c:pt idx="361">
                  <c:v>40661</c:v>
                </c:pt>
                <c:pt idx="362">
                  <c:v>40662</c:v>
                </c:pt>
                <c:pt idx="363">
                  <c:v>40665</c:v>
                </c:pt>
                <c:pt idx="364">
                  <c:v>40666</c:v>
                </c:pt>
                <c:pt idx="365">
                  <c:v>40667</c:v>
                </c:pt>
                <c:pt idx="366">
                  <c:v>40668</c:v>
                </c:pt>
                <c:pt idx="367">
                  <c:v>40669</c:v>
                </c:pt>
                <c:pt idx="368">
                  <c:v>40672</c:v>
                </c:pt>
                <c:pt idx="369">
                  <c:v>40673</c:v>
                </c:pt>
                <c:pt idx="370">
                  <c:v>40674</c:v>
                </c:pt>
                <c:pt idx="371">
                  <c:v>40675</c:v>
                </c:pt>
                <c:pt idx="372">
                  <c:v>40676</c:v>
                </c:pt>
                <c:pt idx="373">
                  <c:v>40679</c:v>
                </c:pt>
                <c:pt idx="374">
                  <c:v>40680</c:v>
                </c:pt>
                <c:pt idx="375">
                  <c:v>40681</c:v>
                </c:pt>
                <c:pt idx="376">
                  <c:v>40682</c:v>
                </c:pt>
                <c:pt idx="377">
                  <c:v>40683</c:v>
                </c:pt>
                <c:pt idx="378">
                  <c:v>40686</c:v>
                </c:pt>
                <c:pt idx="379">
                  <c:v>40687</c:v>
                </c:pt>
                <c:pt idx="380">
                  <c:v>40688</c:v>
                </c:pt>
                <c:pt idx="381">
                  <c:v>40689</c:v>
                </c:pt>
                <c:pt idx="382">
                  <c:v>40690</c:v>
                </c:pt>
                <c:pt idx="383">
                  <c:v>40693</c:v>
                </c:pt>
                <c:pt idx="384">
                  <c:v>40694</c:v>
                </c:pt>
                <c:pt idx="385">
                  <c:v>40695</c:v>
                </c:pt>
                <c:pt idx="386">
                  <c:v>40696</c:v>
                </c:pt>
                <c:pt idx="387">
                  <c:v>40697</c:v>
                </c:pt>
                <c:pt idx="388">
                  <c:v>40700</c:v>
                </c:pt>
                <c:pt idx="389">
                  <c:v>40701</c:v>
                </c:pt>
                <c:pt idx="390">
                  <c:v>40702</c:v>
                </c:pt>
                <c:pt idx="391">
                  <c:v>40703</c:v>
                </c:pt>
                <c:pt idx="392">
                  <c:v>40704</c:v>
                </c:pt>
                <c:pt idx="393">
                  <c:v>40707</c:v>
                </c:pt>
                <c:pt idx="394">
                  <c:v>40708</c:v>
                </c:pt>
                <c:pt idx="395">
                  <c:v>40709</c:v>
                </c:pt>
                <c:pt idx="396">
                  <c:v>40710</c:v>
                </c:pt>
                <c:pt idx="397">
                  <c:v>40711</c:v>
                </c:pt>
                <c:pt idx="398">
                  <c:v>40714</c:v>
                </c:pt>
                <c:pt idx="399">
                  <c:v>40715</c:v>
                </c:pt>
                <c:pt idx="400">
                  <c:v>40716</c:v>
                </c:pt>
                <c:pt idx="401">
                  <c:v>40717</c:v>
                </c:pt>
                <c:pt idx="402">
                  <c:v>40718</c:v>
                </c:pt>
                <c:pt idx="403">
                  <c:v>40721</c:v>
                </c:pt>
                <c:pt idx="404">
                  <c:v>40722</c:v>
                </c:pt>
                <c:pt idx="405">
                  <c:v>40723</c:v>
                </c:pt>
                <c:pt idx="406">
                  <c:v>40724</c:v>
                </c:pt>
                <c:pt idx="407">
                  <c:v>40725</c:v>
                </c:pt>
                <c:pt idx="408">
                  <c:v>40728</c:v>
                </c:pt>
                <c:pt idx="409">
                  <c:v>40729</c:v>
                </c:pt>
                <c:pt idx="410">
                  <c:v>40730</c:v>
                </c:pt>
                <c:pt idx="411">
                  <c:v>40731</c:v>
                </c:pt>
                <c:pt idx="412">
                  <c:v>40732</c:v>
                </c:pt>
                <c:pt idx="413">
                  <c:v>40735</c:v>
                </c:pt>
                <c:pt idx="414">
                  <c:v>40736</c:v>
                </c:pt>
                <c:pt idx="415">
                  <c:v>40737</c:v>
                </c:pt>
                <c:pt idx="416">
                  <c:v>40738</c:v>
                </c:pt>
                <c:pt idx="417">
                  <c:v>40739</c:v>
                </c:pt>
                <c:pt idx="418">
                  <c:v>40742</c:v>
                </c:pt>
                <c:pt idx="419">
                  <c:v>40743</c:v>
                </c:pt>
                <c:pt idx="420">
                  <c:v>40744</c:v>
                </c:pt>
                <c:pt idx="421">
                  <c:v>40745</c:v>
                </c:pt>
                <c:pt idx="422">
                  <c:v>40746</c:v>
                </c:pt>
                <c:pt idx="423">
                  <c:v>40749</c:v>
                </c:pt>
                <c:pt idx="424">
                  <c:v>40750</c:v>
                </c:pt>
                <c:pt idx="425">
                  <c:v>40751</c:v>
                </c:pt>
                <c:pt idx="426">
                  <c:v>40752</c:v>
                </c:pt>
                <c:pt idx="427">
                  <c:v>40753</c:v>
                </c:pt>
                <c:pt idx="428">
                  <c:v>40756</c:v>
                </c:pt>
                <c:pt idx="429">
                  <c:v>40757</c:v>
                </c:pt>
                <c:pt idx="430">
                  <c:v>40758</c:v>
                </c:pt>
                <c:pt idx="431">
                  <c:v>40759</c:v>
                </c:pt>
                <c:pt idx="432">
                  <c:v>40760</c:v>
                </c:pt>
                <c:pt idx="433">
                  <c:v>40763</c:v>
                </c:pt>
                <c:pt idx="434">
                  <c:v>40764</c:v>
                </c:pt>
                <c:pt idx="435">
                  <c:v>40765</c:v>
                </c:pt>
                <c:pt idx="436">
                  <c:v>40766</c:v>
                </c:pt>
                <c:pt idx="437">
                  <c:v>40767</c:v>
                </c:pt>
                <c:pt idx="438">
                  <c:v>40770</c:v>
                </c:pt>
                <c:pt idx="439">
                  <c:v>40771</c:v>
                </c:pt>
                <c:pt idx="440">
                  <c:v>40772</c:v>
                </c:pt>
                <c:pt idx="441">
                  <c:v>40773</c:v>
                </c:pt>
                <c:pt idx="442">
                  <c:v>40774</c:v>
                </c:pt>
                <c:pt idx="443">
                  <c:v>40777</c:v>
                </c:pt>
                <c:pt idx="444">
                  <c:v>40778</c:v>
                </c:pt>
                <c:pt idx="445">
                  <c:v>40779</c:v>
                </c:pt>
                <c:pt idx="446">
                  <c:v>40780</c:v>
                </c:pt>
                <c:pt idx="447">
                  <c:v>40781</c:v>
                </c:pt>
                <c:pt idx="448">
                  <c:v>40784</c:v>
                </c:pt>
                <c:pt idx="449">
                  <c:v>40785</c:v>
                </c:pt>
                <c:pt idx="450">
                  <c:v>40786</c:v>
                </c:pt>
                <c:pt idx="451">
                  <c:v>40787</c:v>
                </c:pt>
                <c:pt idx="452">
                  <c:v>40788</c:v>
                </c:pt>
                <c:pt idx="453">
                  <c:v>40791</c:v>
                </c:pt>
                <c:pt idx="454">
                  <c:v>40792</c:v>
                </c:pt>
                <c:pt idx="455">
                  <c:v>40793</c:v>
                </c:pt>
                <c:pt idx="456">
                  <c:v>40794</c:v>
                </c:pt>
                <c:pt idx="457">
                  <c:v>40795</c:v>
                </c:pt>
                <c:pt idx="458">
                  <c:v>40798</c:v>
                </c:pt>
                <c:pt idx="459">
                  <c:v>40799</c:v>
                </c:pt>
                <c:pt idx="460">
                  <c:v>40800</c:v>
                </c:pt>
                <c:pt idx="461">
                  <c:v>40801</c:v>
                </c:pt>
                <c:pt idx="462">
                  <c:v>40802</c:v>
                </c:pt>
                <c:pt idx="463">
                  <c:v>40805</c:v>
                </c:pt>
                <c:pt idx="464">
                  <c:v>40806</c:v>
                </c:pt>
                <c:pt idx="465">
                  <c:v>40807</c:v>
                </c:pt>
                <c:pt idx="466">
                  <c:v>40808</c:v>
                </c:pt>
                <c:pt idx="467">
                  <c:v>40809</c:v>
                </c:pt>
                <c:pt idx="468">
                  <c:v>40812</c:v>
                </c:pt>
                <c:pt idx="469">
                  <c:v>40813</c:v>
                </c:pt>
                <c:pt idx="470">
                  <c:v>40814</c:v>
                </c:pt>
                <c:pt idx="471">
                  <c:v>40815</c:v>
                </c:pt>
                <c:pt idx="472">
                  <c:v>40816</c:v>
                </c:pt>
                <c:pt idx="473">
                  <c:v>40819</c:v>
                </c:pt>
                <c:pt idx="474">
                  <c:v>40820</c:v>
                </c:pt>
                <c:pt idx="475">
                  <c:v>40821</c:v>
                </c:pt>
                <c:pt idx="476">
                  <c:v>40822</c:v>
                </c:pt>
                <c:pt idx="477">
                  <c:v>40823</c:v>
                </c:pt>
                <c:pt idx="478">
                  <c:v>40826</c:v>
                </c:pt>
                <c:pt idx="479">
                  <c:v>40827</c:v>
                </c:pt>
                <c:pt idx="480">
                  <c:v>40828</c:v>
                </c:pt>
                <c:pt idx="481">
                  <c:v>40829</c:v>
                </c:pt>
                <c:pt idx="482">
                  <c:v>40830</c:v>
                </c:pt>
                <c:pt idx="483">
                  <c:v>40833</c:v>
                </c:pt>
                <c:pt idx="484">
                  <c:v>40834</c:v>
                </c:pt>
                <c:pt idx="485">
                  <c:v>40835</c:v>
                </c:pt>
                <c:pt idx="486">
                  <c:v>40836</c:v>
                </c:pt>
                <c:pt idx="487">
                  <c:v>40837</c:v>
                </c:pt>
                <c:pt idx="488">
                  <c:v>40840</c:v>
                </c:pt>
                <c:pt idx="489">
                  <c:v>40841</c:v>
                </c:pt>
                <c:pt idx="490">
                  <c:v>40842</c:v>
                </c:pt>
                <c:pt idx="491">
                  <c:v>40843</c:v>
                </c:pt>
                <c:pt idx="492">
                  <c:v>40844</c:v>
                </c:pt>
                <c:pt idx="493">
                  <c:v>40847</c:v>
                </c:pt>
                <c:pt idx="494">
                  <c:v>40848</c:v>
                </c:pt>
                <c:pt idx="495">
                  <c:v>40849</c:v>
                </c:pt>
                <c:pt idx="496">
                  <c:v>40850</c:v>
                </c:pt>
                <c:pt idx="497">
                  <c:v>40851</c:v>
                </c:pt>
                <c:pt idx="498">
                  <c:v>40854</c:v>
                </c:pt>
                <c:pt idx="499">
                  <c:v>40855</c:v>
                </c:pt>
                <c:pt idx="500">
                  <c:v>40856</c:v>
                </c:pt>
                <c:pt idx="501">
                  <c:v>40857</c:v>
                </c:pt>
                <c:pt idx="502">
                  <c:v>40858</c:v>
                </c:pt>
                <c:pt idx="503">
                  <c:v>40861</c:v>
                </c:pt>
                <c:pt idx="504">
                  <c:v>40862</c:v>
                </c:pt>
                <c:pt idx="505">
                  <c:v>40863</c:v>
                </c:pt>
                <c:pt idx="506">
                  <c:v>40864</c:v>
                </c:pt>
                <c:pt idx="507">
                  <c:v>40865</c:v>
                </c:pt>
                <c:pt idx="508">
                  <c:v>40868</c:v>
                </c:pt>
                <c:pt idx="509">
                  <c:v>40869</c:v>
                </c:pt>
                <c:pt idx="510">
                  <c:v>40870</c:v>
                </c:pt>
                <c:pt idx="511">
                  <c:v>40871</c:v>
                </c:pt>
                <c:pt idx="512">
                  <c:v>40872</c:v>
                </c:pt>
                <c:pt idx="513">
                  <c:v>40875</c:v>
                </c:pt>
                <c:pt idx="514">
                  <c:v>40876</c:v>
                </c:pt>
                <c:pt idx="515">
                  <c:v>40877</c:v>
                </c:pt>
                <c:pt idx="516">
                  <c:v>40878</c:v>
                </c:pt>
                <c:pt idx="517">
                  <c:v>40879</c:v>
                </c:pt>
                <c:pt idx="518">
                  <c:v>40882</c:v>
                </c:pt>
                <c:pt idx="519">
                  <c:v>40883</c:v>
                </c:pt>
                <c:pt idx="520">
                  <c:v>40884</c:v>
                </c:pt>
                <c:pt idx="521">
                  <c:v>40885</c:v>
                </c:pt>
                <c:pt idx="522">
                  <c:v>40886</c:v>
                </c:pt>
                <c:pt idx="523">
                  <c:v>40889</c:v>
                </c:pt>
                <c:pt idx="524">
                  <c:v>40890</c:v>
                </c:pt>
                <c:pt idx="525">
                  <c:v>40891</c:v>
                </c:pt>
                <c:pt idx="526">
                  <c:v>40892</c:v>
                </c:pt>
                <c:pt idx="527">
                  <c:v>40893</c:v>
                </c:pt>
                <c:pt idx="528">
                  <c:v>40896</c:v>
                </c:pt>
                <c:pt idx="529">
                  <c:v>40897</c:v>
                </c:pt>
                <c:pt idx="530">
                  <c:v>40898</c:v>
                </c:pt>
                <c:pt idx="531">
                  <c:v>40899</c:v>
                </c:pt>
                <c:pt idx="532">
                  <c:v>40900</c:v>
                </c:pt>
                <c:pt idx="533">
                  <c:v>40904</c:v>
                </c:pt>
                <c:pt idx="534">
                  <c:v>40905</c:v>
                </c:pt>
                <c:pt idx="535">
                  <c:v>40906</c:v>
                </c:pt>
                <c:pt idx="536">
                  <c:v>40907</c:v>
                </c:pt>
                <c:pt idx="537">
                  <c:v>40910</c:v>
                </c:pt>
                <c:pt idx="538">
                  <c:v>40911</c:v>
                </c:pt>
                <c:pt idx="539">
                  <c:v>40912</c:v>
                </c:pt>
                <c:pt idx="540">
                  <c:v>40913</c:v>
                </c:pt>
                <c:pt idx="541">
                  <c:v>40914</c:v>
                </c:pt>
                <c:pt idx="542">
                  <c:v>40917</c:v>
                </c:pt>
                <c:pt idx="543">
                  <c:v>40918</c:v>
                </c:pt>
                <c:pt idx="544">
                  <c:v>40919</c:v>
                </c:pt>
                <c:pt idx="545">
                  <c:v>40920</c:v>
                </c:pt>
                <c:pt idx="546">
                  <c:v>40921</c:v>
                </c:pt>
                <c:pt idx="547">
                  <c:v>40924</c:v>
                </c:pt>
                <c:pt idx="548">
                  <c:v>40925</c:v>
                </c:pt>
                <c:pt idx="549">
                  <c:v>40926</c:v>
                </c:pt>
                <c:pt idx="550">
                  <c:v>40927</c:v>
                </c:pt>
                <c:pt idx="551">
                  <c:v>40928</c:v>
                </c:pt>
                <c:pt idx="552">
                  <c:v>40931</c:v>
                </c:pt>
                <c:pt idx="553">
                  <c:v>40932</c:v>
                </c:pt>
                <c:pt idx="554">
                  <c:v>40933</c:v>
                </c:pt>
                <c:pt idx="555">
                  <c:v>40934</c:v>
                </c:pt>
                <c:pt idx="556">
                  <c:v>40935</c:v>
                </c:pt>
                <c:pt idx="557">
                  <c:v>40938</c:v>
                </c:pt>
                <c:pt idx="558">
                  <c:v>40939</c:v>
                </c:pt>
                <c:pt idx="559">
                  <c:v>40940</c:v>
                </c:pt>
                <c:pt idx="560">
                  <c:v>40941</c:v>
                </c:pt>
                <c:pt idx="561">
                  <c:v>40942</c:v>
                </c:pt>
                <c:pt idx="562">
                  <c:v>40945</c:v>
                </c:pt>
                <c:pt idx="563">
                  <c:v>40946</c:v>
                </c:pt>
                <c:pt idx="564">
                  <c:v>40947</c:v>
                </c:pt>
                <c:pt idx="565">
                  <c:v>40948</c:v>
                </c:pt>
                <c:pt idx="566">
                  <c:v>40949</c:v>
                </c:pt>
                <c:pt idx="567">
                  <c:v>40952</c:v>
                </c:pt>
                <c:pt idx="568">
                  <c:v>40953</c:v>
                </c:pt>
                <c:pt idx="569">
                  <c:v>40954</c:v>
                </c:pt>
                <c:pt idx="570">
                  <c:v>40955</c:v>
                </c:pt>
                <c:pt idx="571">
                  <c:v>40956</c:v>
                </c:pt>
                <c:pt idx="572">
                  <c:v>40959</c:v>
                </c:pt>
                <c:pt idx="573">
                  <c:v>40960</c:v>
                </c:pt>
                <c:pt idx="574">
                  <c:v>40961</c:v>
                </c:pt>
                <c:pt idx="575">
                  <c:v>40962</c:v>
                </c:pt>
                <c:pt idx="576">
                  <c:v>40963</c:v>
                </c:pt>
                <c:pt idx="577">
                  <c:v>40966</c:v>
                </c:pt>
                <c:pt idx="578">
                  <c:v>40967</c:v>
                </c:pt>
                <c:pt idx="579">
                  <c:v>40968</c:v>
                </c:pt>
                <c:pt idx="580">
                  <c:v>40969</c:v>
                </c:pt>
                <c:pt idx="581">
                  <c:v>40970</c:v>
                </c:pt>
                <c:pt idx="582">
                  <c:v>40973</c:v>
                </c:pt>
                <c:pt idx="583">
                  <c:v>40974</c:v>
                </c:pt>
                <c:pt idx="584">
                  <c:v>40975</c:v>
                </c:pt>
                <c:pt idx="585">
                  <c:v>40976</c:v>
                </c:pt>
                <c:pt idx="586">
                  <c:v>40977</c:v>
                </c:pt>
                <c:pt idx="587">
                  <c:v>40980</c:v>
                </c:pt>
                <c:pt idx="588">
                  <c:v>40981</c:v>
                </c:pt>
                <c:pt idx="589">
                  <c:v>40982</c:v>
                </c:pt>
                <c:pt idx="590">
                  <c:v>40983</c:v>
                </c:pt>
                <c:pt idx="591">
                  <c:v>40984</c:v>
                </c:pt>
                <c:pt idx="592">
                  <c:v>40987</c:v>
                </c:pt>
                <c:pt idx="593">
                  <c:v>40988</c:v>
                </c:pt>
                <c:pt idx="594">
                  <c:v>40989</c:v>
                </c:pt>
                <c:pt idx="595">
                  <c:v>40990</c:v>
                </c:pt>
                <c:pt idx="596">
                  <c:v>40991</c:v>
                </c:pt>
                <c:pt idx="597">
                  <c:v>40994</c:v>
                </c:pt>
                <c:pt idx="598">
                  <c:v>40995</c:v>
                </c:pt>
                <c:pt idx="599">
                  <c:v>40996</c:v>
                </c:pt>
                <c:pt idx="600">
                  <c:v>40997</c:v>
                </c:pt>
                <c:pt idx="601">
                  <c:v>40998</c:v>
                </c:pt>
                <c:pt idx="602">
                  <c:v>41001</c:v>
                </c:pt>
                <c:pt idx="603">
                  <c:v>41002</c:v>
                </c:pt>
                <c:pt idx="604">
                  <c:v>41003</c:v>
                </c:pt>
                <c:pt idx="605">
                  <c:v>41004</c:v>
                </c:pt>
                <c:pt idx="606">
                  <c:v>41009</c:v>
                </c:pt>
                <c:pt idx="607">
                  <c:v>41010</c:v>
                </c:pt>
                <c:pt idx="608">
                  <c:v>41011</c:v>
                </c:pt>
                <c:pt idx="609">
                  <c:v>41012</c:v>
                </c:pt>
                <c:pt idx="610">
                  <c:v>41015</c:v>
                </c:pt>
                <c:pt idx="611">
                  <c:v>41016</c:v>
                </c:pt>
                <c:pt idx="612">
                  <c:v>41017</c:v>
                </c:pt>
                <c:pt idx="613">
                  <c:v>41018</c:v>
                </c:pt>
                <c:pt idx="614">
                  <c:v>41019</c:v>
                </c:pt>
                <c:pt idx="615">
                  <c:v>41022</c:v>
                </c:pt>
                <c:pt idx="616">
                  <c:v>41023</c:v>
                </c:pt>
                <c:pt idx="617">
                  <c:v>41024</c:v>
                </c:pt>
                <c:pt idx="618">
                  <c:v>41025</c:v>
                </c:pt>
                <c:pt idx="619">
                  <c:v>41026</c:v>
                </c:pt>
                <c:pt idx="620">
                  <c:v>41029</c:v>
                </c:pt>
                <c:pt idx="621">
                  <c:v>41030</c:v>
                </c:pt>
                <c:pt idx="622">
                  <c:v>41031</c:v>
                </c:pt>
                <c:pt idx="623">
                  <c:v>41032</c:v>
                </c:pt>
                <c:pt idx="624">
                  <c:v>41033</c:v>
                </c:pt>
                <c:pt idx="625">
                  <c:v>41036</c:v>
                </c:pt>
                <c:pt idx="626">
                  <c:v>41037</c:v>
                </c:pt>
                <c:pt idx="627">
                  <c:v>41038</c:v>
                </c:pt>
                <c:pt idx="628">
                  <c:v>41039</c:v>
                </c:pt>
                <c:pt idx="629">
                  <c:v>41040</c:v>
                </c:pt>
                <c:pt idx="630">
                  <c:v>41043</c:v>
                </c:pt>
                <c:pt idx="631">
                  <c:v>41044</c:v>
                </c:pt>
                <c:pt idx="632">
                  <c:v>41045</c:v>
                </c:pt>
                <c:pt idx="633">
                  <c:v>41046</c:v>
                </c:pt>
                <c:pt idx="634">
                  <c:v>41047</c:v>
                </c:pt>
                <c:pt idx="635">
                  <c:v>41050</c:v>
                </c:pt>
                <c:pt idx="636">
                  <c:v>41051</c:v>
                </c:pt>
                <c:pt idx="637">
                  <c:v>41052</c:v>
                </c:pt>
                <c:pt idx="638">
                  <c:v>41053</c:v>
                </c:pt>
                <c:pt idx="639">
                  <c:v>41054</c:v>
                </c:pt>
                <c:pt idx="640">
                  <c:v>41057</c:v>
                </c:pt>
                <c:pt idx="641">
                  <c:v>41058</c:v>
                </c:pt>
                <c:pt idx="642">
                  <c:v>41059</c:v>
                </c:pt>
                <c:pt idx="643">
                  <c:v>41060</c:v>
                </c:pt>
                <c:pt idx="644">
                  <c:v>41061</c:v>
                </c:pt>
                <c:pt idx="645">
                  <c:v>41064</c:v>
                </c:pt>
                <c:pt idx="646">
                  <c:v>41065</c:v>
                </c:pt>
                <c:pt idx="647">
                  <c:v>41066</c:v>
                </c:pt>
                <c:pt idx="648">
                  <c:v>41067</c:v>
                </c:pt>
                <c:pt idx="649">
                  <c:v>41068</c:v>
                </c:pt>
                <c:pt idx="650">
                  <c:v>41071</c:v>
                </c:pt>
                <c:pt idx="651">
                  <c:v>41072</c:v>
                </c:pt>
                <c:pt idx="652">
                  <c:v>41073</c:v>
                </c:pt>
                <c:pt idx="653">
                  <c:v>41074</c:v>
                </c:pt>
                <c:pt idx="654">
                  <c:v>41075</c:v>
                </c:pt>
                <c:pt idx="655">
                  <c:v>41078</c:v>
                </c:pt>
                <c:pt idx="656">
                  <c:v>41079</c:v>
                </c:pt>
                <c:pt idx="657">
                  <c:v>41080</c:v>
                </c:pt>
                <c:pt idx="658">
                  <c:v>41081</c:v>
                </c:pt>
                <c:pt idx="659">
                  <c:v>41082</c:v>
                </c:pt>
                <c:pt idx="660">
                  <c:v>41085</c:v>
                </c:pt>
                <c:pt idx="661">
                  <c:v>41086</c:v>
                </c:pt>
                <c:pt idx="662">
                  <c:v>41087</c:v>
                </c:pt>
                <c:pt idx="663">
                  <c:v>41088</c:v>
                </c:pt>
                <c:pt idx="664">
                  <c:v>41089</c:v>
                </c:pt>
                <c:pt idx="665">
                  <c:v>41092</c:v>
                </c:pt>
                <c:pt idx="666">
                  <c:v>41093</c:v>
                </c:pt>
                <c:pt idx="667">
                  <c:v>41094</c:v>
                </c:pt>
                <c:pt idx="668">
                  <c:v>41095</c:v>
                </c:pt>
                <c:pt idx="669">
                  <c:v>41096</c:v>
                </c:pt>
                <c:pt idx="670">
                  <c:v>41099</c:v>
                </c:pt>
                <c:pt idx="671">
                  <c:v>41100</c:v>
                </c:pt>
                <c:pt idx="672">
                  <c:v>41101</c:v>
                </c:pt>
                <c:pt idx="673">
                  <c:v>41102</c:v>
                </c:pt>
                <c:pt idx="674">
                  <c:v>41103</c:v>
                </c:pt>
                <c:pt idx="675">
                  <c:v>41106</c:v>
                </c:pt>
                <c:pt idx="676">
                  <c:v>41107</c:v>
                </c:pt>
                <c:pt idx="677">
                  <c:v>41108</c:v>
                </c:pt>
                <c:pt idx="678">
                  <c:v>41109</c:v>
                </c:pt>
                <c:pt idx="679">
                  <c:v>41110</c:v>
                </c:pt>
                <c:pt idx="680">
                  <c:v>41113</c:v>
                </c:pt>
                <c:pt idx="681">
                  <c:v>41114</c:v>
                </c:pt>
                <c:pt idx="682">
                  <c:v>41115</c:v>
                </c:pt>
                <c:pt idx="683">
                  <c:v>41116</c:v>
                </c:pt>
                <c:pt idx="684">
                  <c:v>41117</c:v>
                </c:pt>
                <c:pt idx="685">
                  <c:v>41120</c:v>
                </c:pt>
                <c:pt idx="686">
                  <c:v>41121</c:v>
                </c:pt>
                <c:pt idx="687">
                  <c:v>41122</c:v>
                </c:pt>
                <c:pt idx="688">
                  <c:v>41123</c:v>
                </c:pt>
                <c:pt idx="689">
                  <c:v>41124</c:v>
                </c:pt>
                <c:pt idx="690">
                  <c:v>41127</c:v>
                </c:pt>
                <c:pt idx="691">
                  <c:v>41128</c:v>
                </c:pt>
                <c:pt idx="692">
                  <c:v>41129</c:v>
                </c:pt>
                <c:pt idx="693">
                  <c:v>41130</c:v>
                </c:pt>
                <c:pt idx="694">
                  <c:v>41131</c:v>
                </c:pt>
                <c:pt idx="695">
                  <c:v>41134</c:v>
                </c:pt>
                <c:pt idx="696">
                  <c:v>41135</c:v>
                </c:pt>
                <c:pt idx="697">
                  <c:v>41136</c:v>
                </c:pt>
                <c:pt idx="698">
                  <c:v>41137</c:v>
                </c:pt>
                <c:pt idx="699">
                  <c:v>41138</c:v>
                </c:pt>
                <c:pt idx="700">
                  <c:v>41141</c:v>
                </c:pt>
                <c:pt idx="701">
                  <c:v>41142</c:v>
                </c:pt>
                <c:pt idx="702">
                  <c:v>41143</c:v>
                </c:pt>
                <c:pt idx="703">
                  <c:v>41144</c:v>
                </c:pt>
                <c:pt idx="704">
                  <c:v>41145</c:v>
                </c:pt>
                <c:pt idx="705">
                  <c:v>41148</c:v>
                </c:pt>
                <c:pt idx="706">
                  <c:v>41149</c:v>
                </c:pt>
                <c:pt idx="707">
                  <c:v>41150</c:v>
                </c:pt>
                <c:pt idx="708">
                  <c:v>41151</c:v>
                </c:pt>
                <c:pt idx="709">
                  <c:v>41152</c:v>
                </c:pt>
                <c:pt idx="710">
                  <c:v>41155</c:v>
                </c:pt>
                <c:pt idx="711">
                  <c:v>41156</c:v>
                </c:pt>
                <c:pt idx="712">
                  <c:v>41157</c:v>
                </c:pt>
                <c:pt idx="713">
                  <c:v>41158</c:v>
                </c:pt>
                <c:pt idx="714">
                  <c:v>41159</c:v>
                </c:pt>
                <c:pt idx="715">
                  <c:v>41162</c:v>
                </c:pt>
                <c:pt idx="716">
                  <c:v>41163</c:v>
                </c:pt>
                <c:pt idx="717">
                  <c:v>41164</c:v>
                </c:pt>
                <c:pt idx="718">
                  <c:v>41165</c:v>
                </c:pt>
                <c:pt idx="719">
                  <c:v>41166</c:v>
                </c:pt>
                <c:pt idx="720">
                  <c:v>41169</c:v>
                </c:pt>
                <c:pt idx="721">
                  <c:v>41170</c:v>
                </c:pt>
                <c:pt idx="722">
                  <c:v>41171</c:v>
                </c:pt>
                <c:pt idx="723">
                  <c:v>41172</c:v>
                </c:pt>
                <c:pt idx="724">
                  <c:v>41173</c:v>
                </c:pt>
                <c:pt idx="725">
                  <c:v>41176</c:v>
                </c:pt>
                <c:pt idx="726">
                  <c:v>41177</c:v>
                </c:pt>
                <c:pt idx="727">
                  <c:v>41178</c:v>
                </c:pt>
                <c:pt idx="728">
                  <c:v>41179</c:v>
                </c:pt>
                <c:pt idx="729">
                  <c:v>41180</c:v>
                </c:pt>
                <c:pt idx="730">
                  <c:v>41183</c:v>
                </c:pt>
                <c:pt idx="731">
                  <c:v>41184</c:v>
                </c:pt>
                <c:pt idx="732">
                  <c:v>41185</c:v>
                </c:pt>
                <c:pt idx="733">
                  <c:v>41186</c:v>
                </c:pt>
                <c:pt idx="734">
                  <c:v>41187</c:v>
                </c:pt>
                <c:pt idx="735">
                  <c:v>41190</c:v>
                </c:pt>
                <c:pt idx="736">
                  <c:v>41191</c:v>
                </c:pt>
                <c:pt idx="737">
                  <c:v>41192</c:v>
                </c:pt>
                <c:pt idx="738">
                  <c:v>41193</c:v>
                </c:pt>
                <c:pt idx="739">
                  <c:v>41194</c:v>
                </c:pt>
                <c:pt idx="740">
                  <c:v>41197</c:v>
                </c:pt>
                <c:pt idx="741">
                  <c:v>41198</c:v>
                </c:pt>
                <c:pt idx="742">
                  <c:v>41199</c:v>
                </c:pt>
                <c:pt idx="743">
                  <c:v>41200</c:v>
                </c:pt>
                <c:pt idx="744">
                  <c:v>41201</c:v>
                </c:pt>
                <c:pt idx="745">
                  <c:v>41204</c:v>
                </c:pt>
                <c:pt idx="746">
                  <c:v>41205</c:v>
                </c:pt>
                <c:pt idx="747">
                  <c:v>41206</c:v>
                </c:pt>
                <c:pt idx="748">
                  <c:v>41207</c:v>
                </c:pt>
                <c:pt idx="749">
                  <c:v>41208</c:v>
                </c:pt>
                <c:pt idx="750">
                  <c:v>41211</c:v>
                </c:pt>
                <c:pt idx="751">
                  <c:v>41212</c:v>
                </c:pt>
                <c:pt idx="752">
                  <c:v>41213</c:v>
                </c:pt>
                <c:pt idx="753">
                  <c:v>41214</c:v>
                </c:pt>
                <c:pt idx="754">
                  <c:v>41215</c:v>
                </c:pt>
                <c:pt idx="755">
                  <c:v>41218</c:v>
                </c:pt>
                <c:pt idx="756">
                  <c:v>41219</c:v>
                </c:pt>
                <c:pt idx="757">
                  <c:v>41220</c:v>
                </c:pt>
                <c:pt idx="758">
                  <c:v>41221</c:v>
                </c:pt>
                <c:pt idx="759">
                  <c:v>41222</c:v>
                </c:pt>
                <c:pt idx="760">
                  <c:v>41225</c:v>
                </c:pt>
                <c:pt idx="761">
                  <c:v>41226</c:v>
                </c:pt>
                <c:pt idx="762">
                  <c:v>41227</c:v>
                </c:pt>
                <c:pt idx="763">
                  <c:v>41228</c:v>
                </c:pt>
                <c:pt idx="764">
                  <c:v>41229</c:v>
                </c:pt>
                <c:pt idx="765">
                  <c:v>41232</c:v>
                </c:pt>
                <c:pt idx="766">
                  <c:v>41233</c:v>
                </c:pt>
                <c:pt idx="767">
                  <c:v>41234</c:v>
                </c:pt>
                <c:pt idx="768">
                  <c:v>41235</c:v>
                </c:pt>
                <c:pt idx="769">
                  <c:v>41236</c:v>
                </c:pt>
                <c:pt idx="770">
                  <c:v>41239</c:v>
                </c:pt>
                <c:pt idx="771">
                  <c:v>41240</c:v>
                </c:pt>
                <c:pt idx="772">
                  <c:v>41241</c:v>
                </c:pt>
                <c:pt idx="773">
                  <c:v>41242</c:v>
                </c:pt>
                <c:pt idx="774">
                  <c:v>41243</c:v>
                </c:pt>
                <c:pt idx="775">
                  <c:v>41246</c:v>
                </c:pt>
                <c:pt idx="776">
                  <c:v>41247</c:v>
                </c:pt>
                <c:pt idx="777">
                  <c:v>41248</c:v>
                </c:pt>
                <c:pt idx="778">
                  <c:v>41249</c:v>
                </c:pt>
                <c:pt idx="779">
                  <c:v>41250</c:v>
                </c:pt>
                <c:pt idx="780">
                  <c:v>41253</c:v>
                </c:pt>
                <c:pt idx="781">
                  <c:v>41254</c:v>
                </c:pt>
                <c:pt idx="782">
                  <c:v>41255</c:v>
                </c:pt>
                <c:pt idx="783">
                  <c:v>41256</c:v>
                </c:pt>
                <c:pt idx="784">
                  <c:v>41257</c:v>
                </c:pt>
                <c:pt idx="785">
                  <c:v>41260</c:v>
                </c:pt>
                <c:pt idx="786">
                  <c:v>41261</c:v>
                </c:pt>
                <c:pt idx="787">
                  <c:v>41262</c:v>
                </c:pt>
                <c:pt idx="788">
                  <c:v>41263</c:v>
                </c:pt>
                <c:pt idx="789">
                  <c:v>41264</c:v>
                </c:pt>
                <c:pt idx="790">
                  <c:v>41267</c:v>
                </c:pt>
                <c:pt idx="791">
                  <c:v>41270</c:v>
                </c:pt>
                <c:pt idx="792">
                  <c:v>41271</c:v>
                </c:pt>
                <c:pt idx="793">
                  <c:v>41274</c:v>
                </c:pt>
                <c:pt idx="794">
                  <c:v>41276</c:v>
                </c:pt>
                <c:pt idx="795">
                  <c:v>41277</c:v>
                </c:pt>
                <c:pt idx="796">
                  <c:v>41278</c:v>
                </c:pt>
                <c:pt idx="797">
                  <c:v>41281</c:v>
                </c:pt>
                <c:pt idx="798">
                  <c:v>41282</c:v>
                </c:pt>
                <c:pt idx="799">
                  <c:v>41283</c:v>
                </c:pt>
                <c:pt idx="800">
                  <c:v>41284</c:v>
                </c:pt>
                <c:pt idx="801">
                  <c:v>41285</c:v>
                </c:pt>
                <c:pt idx="802">
                  <c:v>41288</c:v>
                </c:pt>
                <c:pt idx="803">
                  <c:v>41289</c:v>
                </c:pt>
                <c:pt idx="804">
                  <c:v>41290</c:v>
                </c:pt>
                <c:pt idx="805">
                  <c:v>41291</c:v>
                </c:pt>
                <c:pt idx="806">
                  <c:v>41292</c:v>
                </c:pt>
                <c:pt idx="807">
                  <c:v>41295</c:v>
                </c:pt>
                <c:pt idx="808">
                  <c:v>41296</c:v>
                </c:pt>
                <c:pt idx="809">
                  <c:v>41297</c:v>
                </c:pt>
                <c:pt idx="810">
                  <c:v>41298</c:v>
                </c:pt>
                <c:pt idx="811">
                  <c:v>41299</c:v>
                </c:pt>
                <c:pt idx="812">
                  <c:v>41302</c:v>
                </c:pt>
                <c:pt idx="813">
                  <c:v>41303</c:v>
                </c:pt>
                <c:pt idx="814">
                  <c:v>41304</c:v>
                </c:pt>
                <c:pt idx="815">
                  <c:v>41305</c:v>
                </c:pt>
                <c:pt idx="816">
                  <c:v>41306</c:v>
                </c:pt>
                <c:pt idx="817">
                  <c:v>41309</c:v>
                </c:pt>
                <c:pt idx="818">
                  <c:v>41310</c:v>
                </c:pt>
                <c:pt idx="819">
                  <c:v>41311</c:v>
                </c:pt>
                <c:pt idx="820">
                  <c:v>41312</c:v>
                </c:pt>
                <c:pt idx="821">
                  <c:v>41313</c:v>
                </c:pt>
                <c:pt idx="822">
                  <c:v>41316</c:v>
                </c:pt>
                <c:pt idx="823">
                  <c:v>41317</c:v>
                </c:pt>
                <c:pt idx="824">
                  <c:v>41318</c:v>
                </c:pt>
                <c:pt idx="825">
                  <c:v>41319</c:v>
                </c:pt>
                <c:pt idx="826">
                  <c:v>41320</c:v>
                </c:pt>
                <c:pt idx="827">
                  <c:v>41323</c:v>
                </c:pt>
                <c:pt idx="828">
                  <c:v>41324</c:v>
                </c:pt>
                <c:pt idx="829">
                  <c:v>41325</c:v>
                </c:pt>
                <c:pt idx="830">
                  <c:v>41326</c:v>
                </c:pt>
                <c:pt idx="831">
                  <c:v>41327</c:v>
                </c:pt>
                <c:pt idx="832">
                  <c:v>41330</c:v>
                </c:pt>
                <c:pt idx="833">
                  <c:v>41331</c:v>
                </c:pt>
                <c:pt idx="834">
                  <c:v>41332</c:v>
                </c:pt>
                <c:pt idx="835">
                  <c:v>41333</c:v>
                </c:pt>
                <c:pt idx="836">
                  <c:v>41334</c:v>
                </c:pt>
                <c:pt idx="837">
                  <c:v>41337</c:v>
                </c:pt>
                <c:pt idx="838">
                  <c:v>41338</c:v>
                </c:pt>
                <c:pt idx="839">
                  <c:v>41339</c:v>
                </c:pt>
                <c:pt idx="840">
                  <c:v>41340</c:v>
                </c:pt>
                <c:pt idx="841">
                  <c:v>41341</c:v>
                </c:pt>
                <c:pt idx="842">
                  <c:v>41344</c:v>
                </c:pt>
                <c:pt idx="843">
                  <c:v>41345</c:v>
                </c:pt>
                <c:pt idx="844">
                  <c:v>41346</c:v>
                </c:pt>
                <c:pt idx="845">
                  <c:v>41347</c:v>
                </c:pt>
                <c:pt idx="846">
                  <c:v>41348</c:v>
                </c:pt>
                <c:pt idx="847">
                  <c:v>41351</c:v>
                </c:pt>
                <c:pt idx="848">
                  <c:v>41352</c:v>
                </c:pt>
                <c:pt idx="849">
                  <c:v>41353</c:v>
                </c:pt>
                <c:pt idx="850">
                  <c:v>41354</c:v>
                </c:pt>
                <c:pt idx="851">
                  <c:v>41355</c:v>
                </c:pt>
                <c:pt idx="852">
                  <c:v>41358</c:v>
                </c:pt>
                <c:pt idx="853">
                  <c:v>41359</c:v>
                </c:pt>
                <c:pt idx="854">
                  <c:v>41360</c:v>
                </c:pt>
                <c:pt idx="855">
                  <c:v>41361</c:v>
                </c:pt>
                <c:pt idx="856">
                  <c:v>41366</c:v>
                </c:pt>
                <c:pt idx="857">
                  <c:v>41367</c:v>
                </c:pt>
                <c:pt idx="858">
                  <c:v>41368</c:v>
                </c:pt>
                <c:pt idx="859">
                  <c:v>41369</c:v>
                </c:pt>
                <c:pt idx="860">
                  <c:v>41372</c:v>
                </c:pt>
                <c:pt idx="861">
                  <c:v>41373</c:v>
                </c:pt>
                <c:pt idx="862">
                  <c:v>41374</c:v>
                </c:pt>
                <c:pt idx="863">
                  <c:v>41375</c:v>
                </c:pt>
                <c:pt idx="864">
                  <c:v>41376</c:v>
                </c:pt>
                <c:pt idx="865">
                  <c:v>41379</c:v>
                </c:pt>
                <c:pt idx="866">
                  <c:v>41380</c:v>
                </c:pt>
                <c:pt idx="867">
                  <c:v>41381</c:v>
                </c:pt>
                <c:pt idx="868">
                  <c:v>41382</c:v>
                </c:pt>
                <c:pt idx="869">
                  <c:v>41383</c:v>
                </c:pt>
                <c:pt idx="870">
                  <c:v>41386</c:v>
                </c:pt>
                <c:pt idx="871">
                  <c:v>41387</c:v>
                </c:pt>
                <c:pt idx="872">
                  <c:v>41388</c:v>
                </c:pt>
                <c:pt idx="873">
                  <c:v>41389</c:v>
                </c:pt>
                <c:pt idx="874">
                  <c:v>41390</c:v>
                </c:pt>
                <c:pt idx="875">
                  <c:v>41393</c:v>
                </c:pt>
                <c:pt idx="876">
                  <c:v>41394</c:v>
                </c:pt>
                <c:pt idx="877">
                  <c:v>41395</c:v>
                </c:pt>
                <c:pt idx="878">
                  <c:v>41396</c:v>
                </c:pt>
                <c:pt idx="879">
                  <c:v>41397</c:v>
                </c:pt>
                <c:pt idx="880">
                  <c:v>41400</c:v>
                </c:pt>
                <c:pt idx="881">
                  <c:v>41401</c:v>
                </c:pt>
                <c:pt idx="882">
                  <c:v>41402</c:v>
                </c:pt>
                <c:pt idx="883">
                  <c:v>41403</c:v>
                </c:pt>
                <c:pt idx="884">
                  <c:v>41404</c:v>
                </c:pt>
                <c:pt idx="885">
                  <c:v>41407</c:v>
                </c:pt>
                <c:pt idx="886">
                  <c:v>41408</c:v>
                </c:pt>
                <c:pt idx="887">
                  <c:v>41409</c:v>
                </c:pt>
                <c:pt idx="888">
                  <c:v>41410</c:v>
                </c:pt>
                <c:pt idx="889">
                  <c:v>41411</c:v>
                </c:pt>
                <c:pt idx="890">
                  <c:v>41414</c:v>
                </c:pt>
                <c:pt idx="891">
                  <c:v>41415</c:v>
                </c:pt>
                <c:pt idx="892">
                  <c:v>41416</c:v>
                </c:pt>
                <c:pt idx="893">
                  <c:v>41417</c:v>
                </c:pt>
                <c:pt idx="894">
                  <c:v>41418</c:v>
                </c:pt>
                <c:pt idx="895">
                  <c:v>41421</c:v>
                </c:pt>
                <c:pt idx="896">
                  <c:v>41422</c:v>
                </c:pt>
                <c:pt idx="897">
                  <c:v>41423</c:v>
                </c:pt>
                <c:pt idx="898">
                  <c:v>41424</c:v>
                </c:pt>
                <c:pt idx="899">
                  <c:v>41425</c:v>
                </c:pt>
                <c:pt idx="900">
                  <c:v>41428</c:v>
                </c:pt>
                <c:pt idx="901">
                  <c:v>41429</c:v>
                </c:pt>
                <c:pt idx="902">
                  <c:v>41430</c:v>
                </c:pt>
                <c:pt idx="903">
                  <c:v>41431</c:v>
                </c:pt>
                <c:pt idx="904">
                  <c:v>41432</c:v>
                </c:pt>
                <c:pt idx="905">
                  <c:v>41435</c:v>
                </c:pt>
                <c:pt idx="906">
                  <c:v>41436</c:v>
                </c:pt>
                <c:pt idx="907">
                  <c:v>41437</c:v>
                </c:pt>
                <c:pt idx="908">
                  <c:v>41438</c:v>
                </c:pt>
                <c:pt idx="909">
                  <c:v>41439</c:v>
                </c:pt>
                <c:pt idx="910">
                  <c:v>41442</c:v>
                </c:pt>
                <c:pt idx="911">
                  <c:v>41443</c:v>
                </c:pt>
                <c:pt idx="912">
                  <c:v>41444</c:v>
                </c:pt>
                <c:pt idx="913">
                  <c:v>41445</c:v>
                </c:pt>
                <c:pt idx="914">
                  <c:v>41446</c:v>
                </c:pt>
                <c:pt idx="915">
                  <c:v>41449</c:v>
                </c:pt>
                <c:pt idx="916">
                  <c:v>41450</c:v>
                </c:pt>
                <c:pt idx="917">
                  <c:v>41451</c:v>
                </c:pt>
                <c:pt idx="918">
                  <c:v>41452</c:v>
                </c:pt>
                <c:pt idx="919">
                  <c:v>41453</c:v>
                </c:pt>
                <c:pt idx="920">
                  <c:v>41456</c:v>
                </c:pt>
                <c:pt idx="921">
                  <c:v>41457</c:v>
                </c:pt>
                <c:pt idx="922">
                  <c:v>41458</c:v>
                </c:pt>
                <c:pt idx="923">
                  <c:v>41459</c:v>
                </c:pt>
                <c:pt idx="924">
                  <c:v>41460</c:v>
                </c:pt>
                <c:pt idx="925">
                  <c:v>41463</c:v>
                </c:pt>
                <c:pt idx="926">
                  <c:v>41464</c:v>
                </c:pt>
                <c:pt idx="927">
                  <c:v>41465</c:v>
                </c:pt>
                <c:pt idx="928">
                  <c:v>41466</c:v>
                </c:pt>
                <c:pt idx="929">
                  <c:v>41467</c:v>
                </c:pt>
                <c:pt idx="930">
                  <c:v>41470</c:v>
                </c:pt>
                <c:pt idx="931">
                  <c:v>41471</c:v>
                </c:pt>
                <c:pt idx="932">
                  <c:v>41472</c:v>
                </c:pt>
                <c:pt idx="933">
                  <c:v>41473</c:v>
                </c:pt>
                <c:pt idx="934">
                  <c:v>41474</c:v>
                </c:pt>
                <c:pt idx="935">
                  <c:v>41477</c:v>
                </c:pt>
                <c:pt idx="936">
                  <c:v>41478</c:v>
                </c:pt>
                <c:pt idx="937">
                  <c:v>41479</c:v>
                </c:pt>
                <c:pt idx="938">
                  <c:v>41480</c:v>
                </c:pt>
                <c:pt idx="939">
                  <c:v>41481</c:v>
                </c:pt>
                <c:pt idx="940">
                  <c:v>41484</c:v>
                </c:pt>
                <c:pt idx="941">
                  <c:v>41485</c:v>
                </c:pt>
                <c:pt idx="942">
                  <c:v>41486</c:v>
                </c:pt>
                <c:pt idx="943">
                  <c:v>41487</c:v>
                </c:pt>
                <c:pt idx="944">
                  <c:v>41488</c:v>
                </c:pt>
                <c:pt idx="945">
                  <c:v>41491</c:v>
                </c:pt>
                <c:pt idx="946">
                  <c:v>41492</c:v>
                </c:pt>
                <c:pt idx="947">
                  <c:v>41493</c:v>
                </c:pt>
                <c:pt idx="948">
                  <c:v>41494</c:v>
                </c:pt>
                <c:pt idx="949">
                  <c:v>41495</c:v>
                </c:pt>
                <c:pt idx="950">
                  <c:v>41498</c:v>
                </c:pt>
                <c:pt idx="951">
                  <c:v>41499</c:v>
                </c:pt>
                <c:pt idx="952">
                  <c:v>41500</c:v>
                </c:pt>
                <c:pt idx="953">
                  <c:v>41501</c:v>
                </c:pt>
                <c:pt idx="954">
                  <c:v>41502</c:v>
                </c:pt>
                <c:pt idx="955">
                  <c:v>41505</c:v>
                </c:pt>
                <c:pt idx="956">
                  <c:v>41506</c:v>
                </c:pt>
                <c:pt idx="957">
                  <c:v>41507</c:v>
                </c:pt>
                <c:pt idx="958">
                  <c:v>41508</c:v>
                </c:pt>
                <c:pt idx="959">
                  <c:v>41509</c:v>
                </c:pt>
                <c:pt idx="960">
                  <c:v>41512</c:v>
                </c:pt>
                <c:pt idx="961">
                  <c:v>41513</c:v>
                </c:pt>
                <c:pt idx="962">
                  <c:v>41514</c:v>
                </c:pt>
                <c:pt idx="963">
                  <c:v>41515</c:v>
                </c:pt>
                <c:pt idx="964">
                  <c:v>41516</c:v>
                </c:pt>
                <c:pt idx="965">
                  <c:v>41519</c:v>
                </c:pt>
                <c:pt idx="966">
                  <c:v>41520</c:v>
                </c:pt>
                <c:pt idx="967">
                  <c:v>41521</c:v>
                </c:pt>
                <c:pt idx="968">
                  <c:v>41522</c:v>
                </c:pt>
                <c:pt idx="969">
                  <c:v>41523</c:v>
                </c:pt>
                <c:pt idx="970">
                  <c:v>41526</c:v>
                </c:pt>
                <c:pt idx="971">
                  <c:v>41527</c:v>
                </c:pt>
                <c:pt idx="972">
                  <c:v>41528</c:v>
                </c:pt>
                <c:pt idx="973">
                  <c:v>41529</c:v>
                </c:pt>
                <c:pt idx="974">
                  <c:v>41530</c:v>
                </c:pt>
                <c:pt idx="975">
                  <c:v>41533</c:v>
                </c:pt>
                <c:pt idx="976">
                  <c:v>41534</c:v>
                </c:pt>
                <c:pt idx="977">
                  <c:v>41535</c:v>
                </c:pt>
                <c:pt idx="978">
                  <c:v>41536</c:v>
                </c:pt>
                <c:pt idx="979">
                  <c:v>41537</c:v>
                </c:pt>
                <c:pt idx="980">
                  <c:v>41540</c:v>
                </c:pt>
                <c:pt idx="981">
                  <c:v>41541</c:v>
                </c:pt>
                <c:pt idx="982">
                  <c:v>41542</c:v>
                </c:pt>
                <c:pt idx="983">
                  <c:v>41543</c:v>
                </c:pt>
                <c:pt idx="984">
                  <c:v>41544</c:v>
                </c:pt>
                <c:pt idx="985">
                  <c:v>41547</c:v>
                </c:pt>
                <c:pt idx="986">
                  <c:v>41548</c:v>
                </c:pt>
                <c:pt idx="987">
                  <c:v>41549</c:v>
                </c:pt>
                <c:pt idx="988">
                  <c:v>41550</c:v>
                </c:pt>
                <c:pt idx="989">
                  <c:v>41551</c:v>
                </c:pt>
                <c:pt idx="990">
                  <c:v>41554</c:v>
                </c:pt>
                <c:pt idx="991">
                  <c:v>41555</c:v>
                </c:pt>
                <c:pt idx="992">
                  <c:v>41556</c:v>
                </c:pt>
                <c:pt idx="993">
                  <c:v>41557</c:v>
                </c:pt>
                <c:pt idx="994">
                  <c:v>41558</c:v>
                </c:pt>
                <c:pt idx="995">
                  <c:v>41561</c:v>
                </c:pt>
                <c:pt idx="996">
                  <c:v>41562</c:v>
                </c:pt>
                <c:pt idx="997">
                  <c:v>41563</c:v>
                </c:pt>
                <c:pt idx="998">
                  <c:v>41564</c:v>
                </c:pt>
                <c:pt idx="999">
                  <c:v>41565</c:v>
                </c:pt>
                <c:pt idx="1000">
                  <c:v>41568</c:v>
                </c:pt>
                <c:pt idx="1001">
                  <c:v>41569</c:v>
                </c:pt>
                <c:pt idx="1002">
                  <c:v>41570</c:v>
                </c:pt>
                <c:pt idx="1003">
                  <c:v>41571</c:v>
                </c:pt>
                <c:pt idx="1004">
                  <c:v>41572</c:v>
                </c:pt>
                <c:pt idx="1005">
                  <c:v>41575</c:v>
                </c:pt>
                <c:pt idx="1006">
                  <c:v>41576</c:v>
                </c:pt>
                <c:pt idx="1007">
                  <c:v>41577</c:v>
                </c:pt>
                <c:pt idx="1008">
                  <c:v>41578</c:v>
                </c:pt>
                <c:pt idx="1009">
                  <c:v>41579</c:v>
                </c:pt>
                <c:pt idx="1010">
                  <c:v>41582</c:v>
                </c:pt>
                <c:pt idx="1011">
                  <c:v>41583</c:v>
                </c:pt>
                <c:pt idx="1012">
                  <c:v>41584</c:v>
                </c:pt>
                <c:pt idx="1013">
                  <c:v>41585</c:v>
                </c:pt>
                <c:pt idx="1014">
                  <c:v>41586</c:v>
                </c:pt>
                <c:pt idx="1015">
                  <c:v>41589</c:v>
                </c:pt>
                <c:pt idx="1016">
                  <c:v>41590</c:v>
                </c:pt>
                <c:pt idx="1017">
                  <c:v>41591</c:v>
                </c:pt>
                <c:pt idx="1018">
                  <c:v>41592</c:v>
                </c:pt>
                <c:pt idx="1019">
                  <c:v>41593</c:v>
                </c:pt>
                <c:pt idx="1020">
                  <c:v>41596</c:v>
                </c:pt>
                <c:pt idx="1021">
                  <c:v>41597</c:v>
                </c:pt>
                <c:pt idx="1022">
                  <c:v>41598</c:v>
                </c:pt>
                <c:pt idx="1023">
                  <c:v>41599</c:v>
                </c:pt>
                <c:pt idx="1024">
                  <c:v>41600</c:v>
                </c:pt>
                <c:pt idx="1025">
                  <c:v>41603</c:v>
                </c:pt>
                <c:pt idx="1026">
                  <c:v>41604</c:v>
                </c:pt>
                <c:pt idx="1027">
                  <c:v>41605</c:v>
                </c:pt>
                <c:pt idx="1028">
                  <c:v>41606</c:v>
                </c:pt>
                <c:pt idx="1029">
                  <c:v>41607</c:v>
                </c:pt>
                <c:pt idx="1030">
                  <c:v>41610</c:v>
                </c:pt>
                <c:pt idx="1031">
                  <c:v>41611</c:v>
                </c:pt>
                <c:pt idx="1032">
                  <c:v>41612</c:v>
                </c:pt>
                <c:pt idx="1033">
                  <c:v>41613</c:v>
                </c:pt>
                <c:pt idx="1034">
                  <c:v>41614</c:v>
                </c:pt>
                <c:pt idx="1035">
                  <c:v>41617</c:v>
                </c:pt>
                <c:pt idx="1036">
                  <c:v>41618</c:v>
                </c:pt>
                <c:pt idx="1037">
                  <c:v>41619</c:v>
                </c:pt>
                <c:pt idx="1038">
                  <c:v>41620</c:v>
                </c:pt>
                <c:pt idx="1039">
                  <c:v>41621</c:v>
                </c:pt>
                <c:pt idx="1040">
                  <c:v>41624</c:v>
                </c:pt>
                <c:pt idx="1041">
                  <c:v>41625</c:v>
                </c:pt>
                <c:pt idx="1042">
                  <c:v>41626</c:v>
                </c:pt>
                <c:pt idx="1043">
                  <c:v>41627</c:v>
                </c:pt>
                <c:pt idx="1044">
                  <c:v>41628</c:v>
                </c:pt>
                <c:pt idx="1045">
                  <c:v>41631</c:v>
                </c:pt>
                <c:pt idx="1046">
                  <c:v>41632</c:v>
                </c:pt>
                <c:pt idx="1047">
                  <c:v>41635</c:v>
                </c:pt>
                <c:pt idx="1048">
                  <c:v>41638</c:v>
                </c:pt>
                <c:pt idx="1049">
                  <c:v>41639</c:v>
                </c:pt>
                <c:pt idx="1050">
                  <c:v>41641</c:v>
                </c:pt>
                <c:pt idx="1051">
                  <c:v>41642</c:v>
                </c:pt>
                <c:pt idx="1052">
                  <c:v>41645</c:v>
                </c:pt>
                <c:pt idx="1053">
                  <c:v>41646</c:v>
                </c:pt>
                <c:pt idx="1054">
                  <c:v>41647</c:v>
                </c:pt>
                <c:pt idx="1055">
                  <c:v>41648</c:v>
                </c:pt>
                <c:pt idx="1056">
                  <c:v>41649</c:v>
                </c:pt>
                <c:pt idx="1057">
                  <c:v>41652</c:v>
                </c:pt>
                <c:pt idx="1058">
                  <c:v>41653</c:v>
                </c:pt>
                <c:pt idx="1059">
                  <c:v>41654</c:v>
                </c:pt>
                <c:pt idx="1060">
                  <c:v>41655</c:v>
                </c:pt>
                <c:pt idx="1061">
                  <c:v>41656</c:v>
                </c:pt>
                <c:pt idx="1062">
                  <c:v>41659</c:v>
                </c:pt>
                <c:pt idx="1063">
                  <c:v>41660</c:v>
                </c:pt>
                <c:pt idx="1064">
                  <c:v>41661</c:v>
                </c:pt>
                <c:pt idx="1065">
                  <c:v>41662</c:v>
                </c:pt>
                <c:pt idx="1066">
                  <c:v>41663</c:v>
                </c:pt>
                <c:pt idx="1067">
                  <c:v>41666</c:v>
                </c:pt>
                <c:pt idx="1068">
                  <c:v>41667</c:v>
                </c:pt>
                <c:pt idx="1069">
                  <c:v>41668</c:v>
                </c:pt>
                <c:pt idx="1070">
                  <c:v>41669</c:v>
                </c:pt>
                <c:pt idx="1071">
                  <c:v>41670</c:v>
                </c:pt>
                <c:pt idx="1072">
                  <c:v>41673</c:v>
                </c:pt>
                <c:pt idx="1073">
                  <c:v>41674</c:v>
                </c:pt>
                <c:pt idx="1074">
                  <c:v>41675</c:v>
                </c:pt>
                <c:pt idx="1075">
                  <c:v>41676</c:v>
                </c:pt>
                <c:pt idx="1076">
                  <c:v>41677</c:v>
                </c:pt>
                <c:pt idx="1077">
                  <c:v>41680</c:v>
                </c:pt>
                <c:pt idx="1078">
                  <c:v>41681</c:v>
                </c:pt>
                <c:pt idx="1079">
                  <c:v>41682</c:v>
                </c:pt>
                <c:pt idx="1080">
                  <c:v>41683</c:v>
                </c:pt>
                <c:pt idx="1081">
                  <c:v>41684</c:v>
                </c:pt>
                <c:pt idx="1082">
                  <c:v>41687</c:v>
                </c:pt>
                <c:pt idx="1083">
                  <c:v>41688</c:v>
                </c:pt>
                <c:pt idx="1084">
                  <c:v>41689</c:v>
                </c:pt>
                <c:pt idx="1085">
                  <c:v>41690</c:v>
                </c:pt>
                <c:pt idx="1086">
                  <c:v>41691</c:v>
                </c:pt>
                <c:pt idx="1087">
                  <c:v>41694</c:v>
                </c:pt>
                <c:pt idx="1088">
                  <c:v>41695</c:v>
                </c:pt>
                <c:pt idx="1089">
                  <c:v>41696</c:v>
                </c:pt>
                <c:pt idx="1090">
                  <c:v>41697</c:v>
                </c:pt>
                <c:pt idx="1091">
                  <c:v>41698</c:v>
                </c:pt>
                <c:pt idx="1092">
                  <c:v>41701</c:v>
                </c:pt>
                <c:pt idx="1093">
                  <c:v>41702</c:v>
                </c:pt>
                <c:pt idx="1094">
                  <c:v>41703</c:v>
                </c:pt>
                <c:pt idx="1095">
                  <c:v>41704</c:v>
                </c:pt>
                <c:pt idx="1096">
                  <c:v>41705</c:v>
                </c:pt>
                <c:pt idx="1097">
                  <c:v>41708</c:v>
                </c:pt>
                <c:pt idx="1098">
                  <c:v>41709</c:v>
                </c:pt>
                <c:pt idx="1099">
                  <c:v>41710</c:v>
                </c:pt>
                <c:pt idx="1100">
                  <c:v>41711</c:v>
                </c:pt>
                <c:pt idx="1101">
                  <c:v>41712</c:v>
                </c:pt>
                <c:pt idx="1102">
                  <c:v>41715</c:v>
                </c:pt>
                <c:pt idx="1103">
                  <c:v>41716</c:v>
                </c:pt>
                <c:pt idx="1104">
                  <c:v>41717</c:v>
                </c:pt>
                <c:pt idx="1105">
                  <c:v>41718</c:v>
                </c:pt>
                <c:pt idx="1106">
                  <c:v>41719</c:v>
                </c:pt>
                <c:pt idx="1107">
                  <c:v>41722</c:v>
                </c:pt>
                <c:pt idx="1108">
                  <c:v>41723</c:v>
                </c:pt>
                <c:pt idx="1109">
                  <c:v>41724</c:v>
                </c:pt>
                <c:pt idx="1110">
                  <c:v>41725</c:v>
                </c:pt>
                <c:pt idx="1111">
                  <c:v>41726</c:v>
                </c:pt>
                <c:pt idx="1112">
                  <c:v>41729</c:v>
                </c:pt>
                <c:pt idx="1113">
                  <c:v>41730</c:v>
                </c:pt>
                <c:pt idx="1114">
                  <c:v>41731</c:v>
                </c:pt>
                <c:pt idx="1115">
                  <c:v>41732</c:v>
                </c:pt>
                <c:pt idx="1116">
                  <c:v>41733</c:v>
                </c:pt>
                <c:pt idx="1117">
                  <c:v>41736</c:v>
                </c:pt>
                <c:pt idx="1118">
                  <c:v>41737</c:v>
                </c:pt>
                <c:pt idx="1119">
                  <c:v>41738</c:v>
                </c:pt>
                <c:pt idx="1120">
                  <c:v>41739</c:v>
                </c:pt>
                <c:pt idx="1121">
                  <c:v>41740</c:v>
                </c:pt>
                <c:pt idx="1122">
                  <c:v>41743</c:v>
                </c:pt>
                <c:pt idx="1123">
                  <c:v>41744</c:v>
                </c:pt>
                <c:pt idx="1124">
                  <c:v>41745</c:v>
                </c:pt>
                <c:pt idx="1125">
                  <c:v>41746</c:v>
                </c:pt>
                <c:pt idx="1126">
                  <c:v>41751</c:v>
                </c:pt>
                <c:pt idx="1127">
                  <c:v>41752</c:v>
                </c:pt>
                <c:pt idx="1128">
                  <c:v>41753</c:v>
                </c:pt>
                <c:pt idx="1129">
                  <c:v>41754</c:v>
                </c:pt>
                <c:pt idx="1130">
                  <c:v>41757</c:v>
                </c:pt>
                <c:pt idx="1131">
                  <c:v>41758</c:v>
                </c:pt>
                <c:pt idx="1132">
                  <c:v>41759</c:v>
                </c:pt>
                <c:pt idx="1133">
                  <c:v>41760</c:v>
                </c:pt>
                <c:pt idx="1134">
                  <c:v>41761</c:v>
                </c:pt>
                <c:pt idx="1135">
                  <c:v>41764</c:v>
                </c:pt>
                <c:pt idx="1136">
                  <c:v>41765</c:v>
                </c:pt>
                <c:pt idx="1137">
                  <c:v>41766</c:v>
                </c:pt>
                <c:pt idx="1138">
                  <c:v>41767</c:v>
                </c:pt>
                <c:pt idx="1139">
                  <c:v>41768</c:v>
                </c:pt>
                <c:pt idx="1140">
                  <c:v>41771</c:v>
                </c:pt>
                <c:pt idx="1141">
                  <c:v>41772</c:v>
                </c:pt>
                <c:pt idx="1142">
                  <c:v>41773</c:v>
                </c:pt>
                <c:pt idx="1143">
                  <c:v>41774</c:v>
                </c:pt>
                <c:pt idx="1144">
                  <c:v>41775</c:v>
                </c:pt>
                <c:pt idx="1145">
                  <c:v>41778</c:v>
                </c:pt>
                <c:pt idx="1146">
                  <c:v>41779</c:v>
                </c:pt>
                <c:pt idx="1147">
                  <c:v>41780</c:v>
                </c:pt>
                <c:pt idx="1148">
                  <c:v>41781</c:v>
                </c:pt>
                <c:pt idx="1149">
                  <c:v>41782</c:v>
                </c:pt>
                <c:pt idx="1150">
                  <c:v>41785</c:v>
                </c:pt>
                <c:pt idx="1151">
                  <c:v>41786</c:v>
                </c:pt>
                <c:pt idx="1152">
                  <c:v>41787</c:v>
                </c:pt>
                <c:pt idx="1153">
                  <c:v>41788</c:v>
                </c:pt>
                <c:pt idx="1154">
                  <c:v>41789</c:v>
                </c:pt>
                <c:pt idx="1155">
                  <c:v>41792</c:v>
                </c:pt>
                <c:pt idx="1156">
                  <c:v>41793</c:v>
                </c:pt>
                <c:pt idx="1157">
                  <c:v>41794</c:v>
                </c:pt>
                <c:pt idx="1158">
                  <c:v>41795</c:v>
                </c:pt>
                <c:pt idx="1159">
                  <c:v>41796</c:v>
                </c:pt>
                <c:pt idx="1160">
                  <c:v>41799</c:v>
                </c:pt>
                <c:pt idx="1161">
                  <c:v>41800</c:v>
                </c:pt>
                <c:pt idx="1162">
                  <c:v>41801</c:v>
                </c:pt>
                <c:pt idx="1163">
                  <c:v>41802</c:v>
                </c:pt>
                <c:pt idx="1164">
                  <c:v>41803</c:v>
                </c:pt>
                <c:pt idx="1165">
                  <c:v>41806</c:v>
                </c:pt>
                <c:pt idx="1166">
                  <c:v>41807</c:v>
                </c:pt>
                <c:pt idx="1167">
                  <c:v>41808</c:v>
                </c:pt>
                <c:pt idx="1168">
                  <c:v>41809</c:v>
                </c:pt>
                <c:pt idx="1169">
                  <c:v>41810</c:v>
                </c:pt>
                <c:pt idx="1170">
                  <c:v>41813</c:v>
                </c:pt>
                <c:pt idx="1171">
                  <c:v>41814</c:v>
                </c:pt>
                <c:pt idx="1172">
                  <c:v>41815</c:v>
                </c:pt>
                <c:pt idx="1173">
                  <c:v>41816</c:v>
                </c:pt>
                <c:pt idx="1174">
                  <c:v>41817</c:v>
                </c:pt>
                <c:pt idx="1175">
                  <c:v>41820</c:v>
                </c:pt>
                <c:pt idx="1176">
                  <c:v>41821</c:v>
                </c:pt>
                <c:pt idx="1177">
                  <c:v>41822</c:v>
                </c:pt>
                <c:pt idx="1178">
                  <c:v>41823</c:v>
                </c:pt>
                <c:pt idx="1179">
                  <c:v>41824</c:v>
                </c:pt>
                <c:pt idx="1180">
                  <c:v>41827</c:v>
                </c:pt>
                <c:pt idx="1181">
                  <c:v>41828</c:v>
                </c:pt>
                <c:pt idx="1182">
                  <c:v>41829</c:v>
                </c:pt>
                <c:pt idx="1183">
                  <c:v>41830</c:v>
                </c:pt>
                <c:pt idx="1184">
                  <c:v>41831</c:v>
                </c:pt>
                <c:pt idx="1185">
                  <c:v>41834</c:v>
                </c:pt>
                <c:pt idx="1186">
                  <c:v>41835</c:v>
                </c:pt>
                <c:pt idx="1187">
                  <c:v>41836</c:v>
                </c:pt>
                <c:pt idx="1188">
                  <c:v>41837</c:v>
                </c:pt>
                <c:pt idx="1189">
                  <c:v>41838</c:v>
                </c:pt>
                <c:pt idx="1190">
                  <c:v>41841</c:v>
                </c:pt>
                <c:pt idx="1191">
                  <c:v>41842</c:v>
                </c:pt>
                <c:pt idx="1192">
                  <c:v>41843</c:v>
                </c:pt>
                <c:pt idx="1193">
                  <c:v>41844</c:v>
                </c:pt>
                <c:pt idx="1194">
                  <c:v>41845</c:v>
                </c:pt>
                <c:pt idx="1195">
                  <c:v>41848</c:v>
                </c:pt>
                <c:pt idx="1196">
                  <c:v>41849</c:v>
                </c:pt>
                <c:pt idx="1197">
                  <c:v>41850</c:v>
                </c:pt>
                <c:pt idx="1198">
                  <c:v>41851</c:v>
                </c:pt>
                <c:pt idx="1199">
                  <c:v>41852</c:v>
                </c:pt>
                <c:pt idx="1200">
                  <c:v>41855</c:v>
                </c:pt>
                <c:pt idx="1201">
                  <c:v>41856</c:v>
                </c:pt>
                <c:pt idx="1202">
                  <c:v>41857</c:v>
                </c:pt>
                <c:pt idx="1203">
                  <c:v>41858</c:v>
                </c:pt>
                <c:pt idx="1204">
                  <c:v>41859</c:v>
                </c:pt>
                <c:pt idx="1205">
                  <c:v>41862</c:v>
                </c:pt>
                <c:pt idx="1206">
                  <c:v>41863</c:v>
                </c:pt>
                <c:pt idx="1207">
                  <c:v>41864</c:v>
                </c:pt>
                <c:pt idx="1208">
                  <c:v>41865</c:v>
                </c:pt>
                <c:pt idx="1209">
                  <c:v>41866</c:v>
                </c:pt>
                <c:pt idx="1210">
                  <c:v>41869</c:v>
                </c:pt>
                <c:pt idx="1211">
                  <c:v>41870</c:v>
                </c:pt>
                <c:pt idx="1212">
                  <c:v>41871</c:v>
                </c:pt>
                <c:pt idx="1213">
                  <c:v>41872</c:v>
                </c:pt>
                <c:pt idx="1214">
                  <c:v>41873</c:v>
                </c:pt>
                <c:pt idx="1215">
                  <c:v>41876</c:v>
                </c:pt>
                <c:pt idx="1216">
                  <c:v>41877</c:v>
                </c:pt>
                <c:pt idx="1217">
                  <c:v>41878</c:v>
                </c:pt>
                <c:pt idx="1218">
                  <c:v>41879</c:v>
                </c:pt>
                <c:pt idx="1219">
                  <c:v>41880</c:v>
                </c:pt>
                <c:pt idx="1220">
                  <c:v>41883</c:v>
                </c:pt>
                <c:pt idx="1221">
                  <c:v>41884</c:v>
                </c:pt>
                <c:pt idx="1222">
                  <c:v>41885</c:v>
                </c:pt>
                <c:pt idx="1223">
                  <c:v>41886</c:v>
                </c:pt>
                <c:pt idx="1224">
                  <c:v>41887</c:v>
                </c:pt>
                <c:pt idx="1225">
                  <c:v>41890</c:v>
                </c:pt>
                <c:pt idx="1226">
                  <c:v>41891</c:v>
                </c:pt>
                <c:pt idx="1227">
                  <c:v>41892</c:v>
                </c:pt>
                <c:pt idx="1228">
                  <c:v>41893</c:v>
                </c:pt>
                <c:pt idx="1229">
                  <c:v>41894</c:v>
                </c:pt>
                <c:pt idx="1230">
                  <c:v>41897</c:v>
                </c:pt>
                <c:pt idx="1231">
                  <c:v>41898</c:v>
                </c:pt>
                <c:pt idx="1232">
                  <c:v>41899</c:v>
                </c:pt>
                <c:pt idx="1233">
                  <c:v>41900</c:v>
                </c:pt>
                <c:pt idx="1234">
                  <c:v>41901</c:v>
                </c:pt>
                <c:pt idx="1235">
                  <c:v>41904</c:v>
                </c:pt>
                <c:pt idx="1236">
                  <c:v>41905</c:v>
                </c:pt>
                <c:pt idx="1237">
                  <c:v>41906</c:v>
                </c:pt>
                <c:pt idx="1238">
                  <c:v>41907</c:v>
                </c:pt>
                <c:pt idx="1239">
                  <c:v>41908</c:v>
                </c:pt>
                <c:pt idx="1240">
                  <c:v>41911</c:v>
                </c:pt>
                <c:pt idx="1241">
                  <c:v>41912</c:v>
                </c:pt>
                <c:pt idx="1242">
                  <c:v>41913</c:v>
                </c:pt>
                <c:pt idx="1243">
                  <c:v>41914</c:v>
                </c:pt>
                <c:pt idx="1244">
                  <c:v>41915</c:v>
                </c:pt>
                <c:pt idx="1245">
                  <c:v>41918</c:v>
                </c:pt>
              </c:numCache>
            </c:numRef>
          </c:cat>
          <c:val>
            <c:numRef>
              <c:f>Sheet1!$C$2:$C$1247</c:f>
              <c:numCache>
                <c:formatCode>General</c:formatCode>
                <c:ptCount val="1246"/>
                <c:pt idx="0">
                  <c:v>100</c:v>
                </c:pt>
                <c:pt idx="1">
                  <c:v>100.26666666666667</c:v>
                </c:pt>
                <c:pt idx="2">
                  <c:v>100.29999999999998</c:v>
                </c:pt>
                <c:pt idx="3">
                  <c:v>101.36666666666667</c:v>
                </c:pt>
                <c:pt idx="4">
                  <c:v>100.96666666666667</c:v>
                </c:pt>
                <c:pt idx="5">
                  <c:v>99.366666666666674</c:v>
                </c:pt>
                <c:pt idx="6">
                  <c:v>98.2</c:v>
                </c:pt>
                <c:pt idx="7">
                  <c:v>99.211111111111123</c:v>
                </c:pt>
                <c:pt idx="8">
                  <c:v>99.588888888888889</c:v>
                </c:pt>
                <c:pt idx="9">
                  <c:v>100.4</c:v>
                </c:pt>
                <c:pt idx="10">
                  <c:v>100.52222222222223</c:v>
                </c:pt>
                <c:pt idx="11">
                  <c:v>101.72222222222223</c:v>
                </c:pt>
                <c:pt idx="12">
                  <c:v>100.62222222222223</c:v>
                </c:pt>
                <c:pt idx="13">
                  <c:v>99.955555555555549</c:v>
                </c:pt>
                <c:pt idx="14">
                  <c:v>101.49999999999999</c:v>
                </c:pt>
                <c:pt idx="15">
                  <c:v>102.21111111111109</c:v>
                </c:pt>
                <c:pt idx="16">
                  <c:v>102.53333333333335</c:v>
                </c:pt>
                <c:pt idx="17">
                  <c:v>102.53333333333335</c:v>
                </c:pt>
                <c:pt idx="18">
                  <c:v>103.23333333333333</c:v>
                </c:pt>
                <c:pt idx="19">
                  <c:v>103.58888888888889</c:v>
                </c:pt>
                <c:pt idx="20">
                  <c:v>102.93333333333334</c:v>
                </c:pt>
                <c:pt idx="21">
                  <c:v>102.92222222222223</c:v>
                </c:pt>
                <c:pt idx="22">
                  <c:v>104.78888888888889</c:v>
                </c:pt>
                <c:pt idx="23">
                  <c:v>104.94444444444444</c:v>
                </c:pt>
                <c:pt idx="24">
                  <c:v>105.06666666666666</c:v>
                </c:pt>
                <c:pt idx="25">
                  <c:v>105.05555555555554</c:v>
                </c:pt>
                <c:pt idx="26">
                  <c:v>105.42222222222222</c:v>
                </c:pt>
                <c:pt idx="27">
                  <c:v>105.23333333333333</c:v>
                </c:pt>
                <c:pt idx="28">
                  <c:v>103.96666666666665</c:v>
                </c:pt>
                <c:pt idx="29">
                  <c:v>104.18888888888888</c:v>
                </c:pt>
                <c:pt idx="30">
                  <c:v>104.67777777777778</c:v>
                </c:pt>
                <c:pt idx="31">
                  <c:v>103.2</c:v>
                </c:pt>
                <c:pt idx="32">
                  <c:v>103.71111111111111</c:v>
                </c:pt>
                <c:pt idx="33">
                  <c:v>104.46666666666667</c:v>
                </c:pt>
                <c:pt idx="34">
                  <c:v>102.35555555555555</c:v>
                </c:pt>
                <c:pt idx="35">
                  <c:v>100.76666666666667</c:v>
                </c:pt>
                <c:pt idx="36">
                  <c:v>99.855555555555569</c:v>
                </c:pt>
                <c:pt idx="37">
                  <c:v>99.044444444444451</c:v>
                </c:pt>
                <c:pt idx="38">
                  <c:v>99.533333333333331</c:v>
                </c:pt>
                <c:pt idx="39">
                  <c:v>98.333333333333329</c:v>
                </c:pt>
                <c:pt idx="40">
                  <c:v>96.955555555555563</c:v>
                </c:pt>
                <c:pt idx="41">
                  <c:v>98.177777777777777</c:v>
                </c:pt>
                <c:pt idx="42">
                  <c:v>98.866666666666674</c:v>
                </c:pt>
                <c:pt idx="43">
                  <c:v>100.07777777777778</c:v>
                </c:pt>
                <c:pt idx="44">
                  <c:v>99.233333333333334</c:v>
                </c:pt>
                <c:pt idx="45">
                  <c:v>96.011111111111106</c:v>
                </c:pt>
                <c:pt idx="46">
                  <c:v>93.544444444444437</c:v>
                </c:pt>
                <c:pt idx="47">
                  <c:v>94.233333333333334</c:v>
                </c:pt>
                <c:pt idx="48">
                  <c:v>94.533333333333331</c:v>
                </c:pt>
                <c:pt idx="49">
                  <c:v>95.533333333333331</c:v>
                </c:pt>
                <c:pt idx="50">
                  <c:v>94.966666666666669</c:v>
                </c:pt>
                <c:pt idx="51">
                  <c:v>94.6</c:v>
                </c:pt>
                <c:pt idx="52">
                  <c:v>94.822222222222223</c:v>
                </c:pt>
                <c:pt idx="53">
                  <c:v>95.988888888888894</c:v>
                </c:pt>
                <c:pt idx="54">
                  <c:v>97.322222222222223</c:v>
                </c:pt>
                <c:pt idx="55">
                  <c:v>97.833333333333329</c:v>
                </c:pt>
                <c:pt idx="56">
                  <c:v>98.411111111111111</c:v>
                </c:pt>
                <c:pt idx="57">
                  <c:v>98.033333333333346</c:v>
                </c:pt>
                <c:pt idx="58">
                  <c:v>96.522222222222226</c:v>
                </c:pt>
                <c:pt idx="59">
                  <c:v>96.577777777777783</c:v>
                </c:pt>
                <c:pt idx="60">
                  <c:v>94.87777777777778</c:v>
                </c:pt>
                <c:pt idx="61">
                  <c:v>96.344444444444434</c:v>
                </c:pt>
                <c:pt idx="62">
                  <c:v>97.922222222222217</c:v>
                </c:pt>
                <c:pt idx="63">
                  <c:v>98.87777777777778</c:v>
                </c:pt>
                <c:pt idx="64">
                  <c:v>99.799999999999983</c:v>
                </c:pt>
                <c:pt idx="65">
                  <c:v>99.788888888888891</c:v>
                </c:pt>
                <c:pt idx="66">
                  <c:v>101.63333333333333</c:v>
                </c:pt>
                <c:pt idx="67">
                  <c:v>101.67777777777778</c:v>
                </c:pt>
                <c:pt idx="68">
                  <c:v>101.66666666666666</c:v>
                </c:pt>
                <c:pt idx="69">
                  <c:v>102.70000000000002</c:v>
                </c:pt>
                <c:pt idx="70">
                  <c:v>102.3</c:v>
                </c:pt>
                <c:pt idx="71">
                  <c:v>102.52222222222223</c:v>
                </c:pt>
                <c:pt idx="72">
                  <c:v>101.63333333333333</c:v>
                </c:pt>
                <c:pt idx="73">
                  <c:v>102.75555555555556</c:v>
                </c:pt>
                <c:pt idx="74">
                  <c:v>103.61111111111111</c:v>
                </c:pt>
                <c:pt idx="75">
                  <c:v>103.07777777777778</c:v>
                </c:pt>
                <c:pt idx="76">
                  <c:v>102.64444444444445</c:v>
                </c:pt>
                <c:pt idx="77">
                  <c:v>102.44444444444444</c:v>
                </c:pt>
                <c:pt idx="78">
                  <c:v>103.23333333333333</c:v>
                </c:pt>
                <c:pt idx="79">
                  <c:v>103.16666666666666</c:v>
                </c:pt>
                <c:pt idx="80">
                  <c:v>104.55555555555556</c:v>
                </c:pt>
                <c:pt idx="81">
                  <c:v>104.45555555555556</c:v>
                </c:pt>
                <c:pt idx="82">
                  <c:v>104.70000000000002</c:v>
                </c:pt>
                <c:pt idx="83">
                  <c:v>104.25555555555555</c:v>
                </c:pt>
                <c:pt idx="84">
                  <c:v>104.03333333333333</c:v>
                </c:pt>
                <c:pt idx="85">
                  <c:v>105.64444444444445</c:v>
                </c:pt>
                <c:pt idx="86">
                  <c:v>106.2</c:v>
                </c:pt>
                <c:pt idx="87">
                  <c:v>105.73333333333332</c:v>
                </c:pt>
                <c:pt idx="88">
                  <c:v>104.58888888888889</c:v>
                </c:pt>
                <c:pt idx="89">
                  <c:v>106.31111111111112</c:v>
                </c:pt>
                <c:pt idx="90">
                  <c:v>106.58888888888889</c:v>
                </c:pt>
                <c:pt idx="91">
                  <c:v>106.18888888888888</c:v>
                </c:pt>
                <c:pt idx="92">
                  <c:v>106.91111111111111</c:v>
                </c:pt>
                <c:pt idx="93">
                  <c:v>107.13333333333333</c:v>
                </c:pt>
                <c:pt idx="94">
                  <c:v>105.17777777777778</c:v>
                </c:pt>
                <c:pt idx="95">
                  <c:v>104.70000000000002</c:v>
                </c:pt>
                <c:pt idx="96">
                  <c:v>106.3</c:v>
                </c:pt>
                <c:pt idx="97">
                  <c:v>105.33333333333333</c:v>
                </c:pt>
                <c:pt idx="98">
                  <c:v>103.71111111111111</c:v>
                </c:pt>
                <c:pt idx="99">
                  <c:v>104.66666666666666</c:v>
                </c:pt>
                <c:pt idx="100">
                  <c:v>105.47777777777779</c:v>
                </c:pt>
                <c:pt idx="101">
                  <c:v>101.92222222222223</c:v>
                </c:pt>
                <c:pt idx="102">
                  <c:v>100.1111111111111</c:v>
                </c:pt>
                <c:pt idx="103">
                  <c:v>101.8</c:v>
                </c:pt>
                <c:pt idx="104">
                  <c:v>101.62222222222222</c:v>
                </c:pt>
                <c:pt idx="105">
                  <c:v>101.96666666666667</c:v>
                </c:pt>
                <c:pt idx="106">
                  <c:v>98.333333333333329</c:v>
                </c:pt>
                <c:pt idx="107">
                  <c:v>96.988888888888894</c:v>
                </c:pt>
                <c:pt idx="108">
                  <c:v>95.144444444444446</c:v>
                </c:pt>
                <c:pt idx="109">
                  <c:v>91.566666666666663</c:v>
                </c:pt>
                <c:pt idx="110">
                  <c:v>99.87777777777778</c:v>
                </c:pt>
                <c:pt idx="111">
                  <c:v>99.177777777777791</c:v>
                </c:pt>
                <c:pt idx="112">
                  <c:v>100.76666666666667</c:v>
                </c:pt>
                <c:pt idx="113">
                  <c:v>100.81111111111112</c:v>
                </c:pt>
                <c:pt idx="114">
                  <c:v>96.588888888888903</c:v>
                </c:pt>
                <c:pt idx="115">
                  <c:v>96.388888888888886</c:v>
                </c:pt>
                <c:pt idx="116">
                  <c:v>98.355555555555554</c:v>
                </c:pt>
                <c:pt idx="117">
                  <c:v>95.62222222222222</c:v>
                </c:pt>
                <c:pt idx="118">
                  <c:v>93.755555555555546</c:v>
                </c:pt>
                <c:pt idx="119">
                  <c:v>93.911111111111111</c:v>
                </c:pt>
                <c:pt idx="120">
                  <c:v>93.699999999999989</c:v>
                </c:pt>
                <c:pt idx="121">
                  <c:v>90.944444444444443</c:v>
                </c:pt>
                <c:pt idx="122">
                  <c:v>92.788888888888891</c:v>
                </c:pt>
                <c:pt idx="123">
                  <c:v>95.977777777777774</c:v>
                </c:pt>
                <c:pt idx="124">
                  <c:v>95.911111111111097</c:v>
                </c:pt>
                <c:pt idx="125">
                  <c:v>95.955555555555549</c:v>
                </c:pt>
                <c:pt idx="126">
                  <c:v>95.777777777777786</c:v>
                </c:pt>
                <c:pt idx="127">
                  <c:v>95.74444444444444</c:v>
                </c:pt>
                <c:pt idx="128">
                  <c:v>96.988888888888894</c:v>
                </c:pt>
                <c:pt idx="129">
                  <c:v>94.377777777777766</c:v>
                </c:pt>
                <c:pt idx="130">
                  <c:v>93.455555555555563</c:v>
                </c:pt>
                <c:pt idx="131">
                  <c:v>92.644444444444446</c:v>
                </c:pt>
                <c:pt idx="132">
                  <c:v>94.522222222222211</c:v>
                </c:pt>
                <c:pt idx="133">
                  <c:v>96.477777777777774</c:v>
                </c:pt>
                <c:pt idx="134">
                  <c:v>97.355555555555569</c:v>
                </c:pt>
                <c:pt idx="135">
                  <c:v>98.988888888888894</c:v>
                </c:pt>
                <c:pt idx="136">
                  <c:v>100.02222222222221</c:v>
                </c:pt>
                <c:pt idx="137">
                  <c:v>99.977777777777789</c:v>
                </c:pt>
                <c:pt idx="138">
                  <c:v>100.3111111111111</c:v>
                </c:pt>
                <c:pt idx="139">
                  <c:v>100.8</c:v>
                </c:pt>
                <c:pt idx="140">
                  <c:v>101.91111111111111</c:v>
                </c:pt>
                <c:pt idx="141">
                  <c:v>101.21111111111112</c:v>
                </c:pt>
                <c:pt idx="142">
                  <c:v>99.822222222222223</c:v>
                </c:pt>
                <c:pt idx="143">
                  <c:v>97.733333333333334</c:v>
                </c:pt>
                <c:pt idx="144">
                  <c:v>97.1</c:v>
                </c:pt>
                <c:pt idx="145">
                  <c:v>98.4</c:v>
                </c:pt>
                <c:pt idx="146">
                  <c:v>94.588888888888889</c:v>
                </c:pt>
                <c:pt idx="147">
                  <c:v>94.899999999999991</c:v>
                </c:pt>
                <c:pt idx="148">
                  <c:v>92.922222222222217</c:v>
                </c:pt>
                <c:pt idx="149">
                  <c:v>93.133333333333326</c:v>
                </c:pt>
                <c:pt idx="150">
                  <c:v>92.74444444444444</c:v>
                </c:pt>
                <c:pt idx="151">
                  <c:v>95.23333333333332</c:v>
                </c:pt>
                <c:pt idx="152">
                  <c:v>96.888888888888886</c:v>
                </c:pt>
                <c:pt idx="153">
                  <c:v>98.011111111111106</c:v>
                </c:pt>
                <c:pt idx="154">
                  <c:v>98.500000000000014</c:v>
                </c:pt>
                <c:pt idx="155">
                  <c:v>98.74444444444444</c:v>
                </c:pt>
                <c:pt idx="156">
                  <c:v>100.64444444444445</c:v>
                </c:pt>
                <c:pt idx="157">
                  <c:v>100.6888888888889</c:v>
                </c:pt>
                <c:pt idx="158">
                  <c:v>99.51111111111112</c:v>
                </c:pt>
                <c:pt idx="159">
                  <c:v>97.644444444444446</c:v>
                </c:pt>
                <c:pt idx="160">
                  <c:v>97.166666666666671</c:v>
                </c:pt>
                <c:pt idx="161">
                  <c:v>96.844444444444449</c:v>
                </c:pt>
                <c:pt idx="162">
                  <c:v>97.544444444444451</c:v>
                </c:pt>
                <c:pt idx="163">
                  <c:v>100.15555555555555</c:v>
                </c:pt>
                <c:pt idx="164">
                  <c:v>100.44444444444444</c:v>
                </c:pt>
                <c:pt idx="165">
                  <c:v>101.25555555555555</c:v>
                </c:pt>
                <c:pt idx="166">
                  <c:v>101.97777777777779</c:v>
                </c:pt>
                <c:pt idx="167">
                  <c:v>101.71111111111111</c:v>
                </c:pt>
                <c:pt idx="168">
                  <c:v>101.32222222222222</c:v>
                </c:pt>
                <c:pt idx="169">
                  <c:v>100.91111111111111</c:v>
                </c:pt>
                <c:pt idx="170">
                  <c:v>103.64444444444445</c:v>
                </c:pt>
                <c:pt idx="171">
                  <c:v>103.67777777777778</c:v>
                </c:pt>
                <c:pt idx="172">
                  <c:v>103.84444444444443</c:v>
                </c:pt>
                <c:pt idx="173">
                  <c:v>103.69999999999999</c:v>
                </c:pt>
                <c:pt idx="174">
                  <c:v>102.28888888888889</c:v>
                </c:pt>
                <c:pt idx="175">
                  <c:v>103.75555555555556</c:v>
                </c:pt>
                <c:pt idx="176">
                  <c:v>102.71111111111111</c:v>
                </c:pt>
                <c:pt idx="177">
                  <c:v>100.03333333333333</c:v>
                </c:pt>
                <c:pt idx="178">
                  <c:v>99.811111111111103</c:v>
                </c:pt>
                <c:pt idx="179">
                  <c:v>99.544444444444451</c:v>
                </c:pt>
                <c:pt idx="180">
                  <c:v>99.333333333333343</c:v>
                </c:pt>
                <c:pt idx="181">
                  <c:v>100.91111111111111</c:v>
                </c:pt>
                <c:pt idx="182">
                  <c:v>100.63333333333333</c:v>
                </c:pt>
                <c:pt idx="183">
                  <c:v>98.9</c:v>
                </c:pt>
                <c:pt idx="184">
                  <c:v>97.666666666666671</c:v>
                </c:pt>
                <c:pt idx="185">
                  <c:v>98.177777777777777</c:v>
                </c:pt>
                <c:pt idx="186">
                  <c:v>96.577777777777783</c:v>
                </c:pt>
                <c:pt idx="187">
                  <c:v>95.633333333333326</c:v>
                </c:pt>
                <c:pt idx="188">
                  <c:v>96.4</c:v>
                </c:pt>
                <c:pt idx="189">
                  <c:v>97.14444444444446</c:v>
                </c:pt>
                <c:pt idx="190">
                  <c:v>96.777777777777771</c:v>
                </c:pt>
                <c:pt idx="191">
                  <c:v>96.988888888888894</c:v>
                </c:pt>
                <c:pt idx="192">
                  <c:v>100.07777777777778</c:v>
                </c:pt>
                <c:pt idx="193">
                  <c:v>100.25555555555556</c:v>
                </c:pt>
                <c:pt idx="194">
                  <c:v>101.18888888888888</c:v>
                </c:pt>
                <c:pt idx="195">
                  <c:v>101.49999999999999</c:v>
                </c:pt>
                <c:pt idx="196">
                  <c:v>100.51111111111111</c:v>
                </c:pt>
                <c:pt idx="197">
                  <c:v>101.32222222222222</c:v>
                </c:pt>
                <c:pt idx="198">
                  <c:v>102.46666666666667</c:v>
                </c:pt>
                <c:pt idx="199">
                  <c:v>102.45555555555555</c:v>
                </c:pt>
                <c:pt idx="200">
                  <c:v>103.36666666666667</c:v>
                </c:pt>
                <c:pt idx="201">
                  <c:v>103.45555555555555</c:v>
                </c:pt>
                <c:pt idx="202">
                  <c:v>103.06666666666666</c:v>
                </c:pt>
                <c:pt idx="203">
                  <c:v>102.64444444444445</c:v>
                </c:pt>
                <c:pt idx="204">
                  <c:v>102.08888888888887</c:v>
                </c:pt>
                <c:pt idx="205">
                  <c:v>103.62222222222223</c:v>
                </c:pt>
                <c:pt idx="206">
                  <c:v>103.53333333333335</c:v>
                </c:pt>
                <c:pt idx="207">
                  <c:v>102.13333333333334</c:v>
                </c:pt>
                <c:pt idx="208">
                  <c:v>101.5888888888889</c:v>
                </c:pt>
                <c:pt idx="209">
                  <c:v>103.4</c:v>
                </c:pt>
                <c:pt idx="210">
                  <c:v>102.94444444444446</c:v>
                </c:pt>
                <c:pt idx="211">
                  <c:v>102.91111111111111</c:v>
                </c:pt>
                <c:pt idx="212">
                  <c:v>102.34444444444443</c:v>
                </c:pt>
                <c:pt idx="213">
                  <c:v>102.18888888888888</c:v>
                </c:pt>
                <c:pt idx="214">
                  <c:v>101.73333333333335</c:v>
                </c:pt>
                <c:pt idx="215">
                  <c:v>100.74444444444444</c:v>
                </c:pt>
                <c:pt idx="216">
                  <c:v>102.6111111111111</c:v>
                </c:pt>
                <c:pt idx="217">
                  <c:v>103.4</c:v>
                </c:pt>
                <c:pt idx="218">
                  <c:v>103.60000000000001</c:v>
                </c:pt>
                <c:pt idx="219">
                  <c:v>103.57777777777777</c:v>
                </c:pt>
                <c:pt idx="220">
                  <c:v>103.87777777777778</c:v>
                </c:pt>
                <c:pt idx="221">
                  <c:v>103.50000000000001</c:v>
                </c:pt>
                <c:pt idx="222">
                  <c:v>105.58888888888889</c:v>
                </c:pt>
                <c:pt idx="223">
                  <c:v>105.38888888888889</c:v>
                </c:pt>
                <c:pt idx="224">
                  <c:v>105.6111111111111</c:v>
                </c:pt>
                <c:pt idx="225">
                  <c:v>105.91111111111111</c:v>
                </c:pt>
                <c:pt idx="226">
                  <c:v>105.45555555555555</c:v>
                </c:pt>
                <c:pt idx="227">
                  <c:v>105.93333333333335</c:v>
                </c:pt>
                <c:pt idx="228">
                  <c:v>107.1</c:v>
                </c:pt>
                <c:pt idx="229">
                  <c:v>106.95555555555556</c:v>
                </c:pt>
                <c:pt idx="230">
                  <c:v>107.15555555555557</c:v>
                </c:pt>
                <c:pt idx="231">
                  <c:v>106.62222222222222</c:v>
                </c:pt>
                <c:pt idx="232">
                  <c:v>105.73333333333332</c:v>
                </c:pt>
                <c:pt idx="233">
                  <c:v>106.17777777777778</c:v>
                </c:pt>
                <c:pt idx="234">
                  <c:v>106.0888888888889</c:v>
                </c:pt>
                <c:pt idx="235">
                  <c:v>105.89999999999999</c:v>
                </c:pt>
                <c:pt idx="236">
                  <c:v>106.63333333333334</c:v>
                </c:pt>
                <c:pt idx="237">
                  <c:v>105.76666666666665</c:v>
                </c:pt>
                <c:pt idx="238">
                  <c:v>107.38888888888889</c:v>
                </c:pt>
                <c:pt idx="239">
                  <c:v>107.1</c:v>
                </c:pt>
                <c:pt idx="240">
                  <c:v>107</c:v>
                </c:pt>
                <c:pt idx="241">
                  <c:v>107.9222222222222</c:v>
                </c:pt>
                <c:pt idx="242">
                  <c:v>106.56666666666665</c:v>
                </c:pt>
                <c:pt idx="243">
                  <c:v>105.92222222222223</c:v>
                </c:pt>
                <c:pt idx="244">
                  <c:v>105.82222222222222</c:v>
                </c:pt>
                <c:pt idx="245">
                  <c:v>106.76666666666668</c:v>
                </c:pt>
                <c:pt idx="246">
                  <c:v>104.46666666666667</c:v>
                </c:pt>
                <c:pt idx="247">
                  <c:v>105.14444444444445</c:v>
                </c:pt>
                <c:pt idx="248">
                  <c:v>106.98888888888889</c:v>
                </c:pt>
                <c:pt idx="249">
                  <c:v>106.77777777777777</c:v>
                </c:pt>
                <c:pt idx="250">
                  <c:v>105.71111111111111</c:v>
                </c:pt>
                <c:pt idx="251">
                  <c:v>103.37777777777779</c:v>
                </c:pt>
                <c:pt idx="252">
                  <c:v>104.28888888888889</c:v>
                </c:pt>
                <c:pt idx="253">
                  <c:v>104.71111111111111</c:v>
                </c:pt>
                <c:pt idx="254">
                  <c:v>103.92222222222223</c:v>
                </c:pt>
                <c:pt idx="255">
                  <c:v>101.52222222222223</c:v>
                </c:pt>
                <c:pt idx="256">
                  <c:v>100.94444444444444</c:v>
                </c:pt>
                <c:pt idx="257">
                  <c:v>103.58888888888889</c:v>
                </c:pt>
                <c:pt idx="258">
                  <c:v>105.69999999999999</c:v>
                </c:pt>
                <c:pt idx="259">
                  <c:v>105.85555555555555</c:v>
                </c:pt>
                <c:pt idx="260">
                  <c:v>105.60000000000001</c:v>
                </c:pt>
                <c:pt idx="261">
                  <c:v>106.69999999999999</c:v>
                </c:pt>
                <c:pt idx="262">
                  <c:v>107.06666666666666</c:v>
                </c:pt>
                <c:pt idx="263">
                  <c:v>107.5</c:v>
                </c:pt>
                <c:pt idx="264">
                  <c:v>107.53333333333333</c:v>
                </c:pt>
                <c:pt idx="265">
                  <c:v>108.13333333333333</c:v>
                </c:pt>
                <c:pt idx="266">
                  <c:v>108.25555555555557</c:v>
                </c:pt>
                <c:pt idx="267">
                  <c:v>107.62222222222222</c:v>
                </c:pt>
                <c:pt idx="268">
                  <c:v>107.76666666666665</c:v>
                </c:pt>
                <c:pt idx="269">
                  <c:v>107.11111111111111</c:v>
                </c:pt>
                <c:pt idx="270">
                  <c:v>107.76666666666665</c:v>
                </c:pt>
                <c:pt idx="271">
                  <c:v>109.0888888888889</c:v>
                </c:pt>
                <c:pt idx="272">
                  <c:v>108.99999999999999</c:v>
                </c:pt>
                <c:pt idx="273">
                  <c:v>108.82222222222222</c:v>
                </c:pt>
                <c:pt idx="274">
                  <c:v>108.68888888888888</c:v>
                </c:pt>
                <c:pt idx="275">
                  <c:v>107.52222222222221</c:v>
                </c:pt>
                <c:pt idx="276">
                  <c:v>107.52222222222221</c:v>
                </c:pt>
                <c:pt idx="277">
                  <c:v>108.11111111111111</c:v>
                </c:pt>
                <c:pt idx="278">
                  <c:v>107.01111111111112</c:v>
                </c:pt>
                <c:pt idx="279">
                  <c:v>106.54444444444444</c:v>
                </c:pt>
                <c:pt idx="280">
                  <c:v>108.22222222222221</c:v>
                </c:pt>
                <c:pt idx="281">
                  <c:v>108.33333333333333</c:v>
                </c:pt>
                <c:pt idx="282">
                  <c:v>107.83333333333334</c:v>
                </c:pt>
                <c:pt idx="283">
                  <c:v>107.93333333333332</c:v>
                </c:pt>
                <c:pt idx="284">
                  <c:v>107.25555555555555</c:v>
                </c:pt>
                <c:pt idx="285">
                  <c:v>105.64444444444445</c:v>
                </c:pt>
                <c:pt idx="286">
                  <c:v>107.17777777777778</c:v>
                </c:pt>
                <c:pt idx="287">
                  <c:v>109.74444444444444</c:v>
                </c:pt>
                <c:pt idx="288">
                  <c:v>110.38888888888889</c:v>
                </c:pt>
                <c:pt idx="289">
                  <c:v>110.53333333333333</c:v>
                </c:pt>
                <c:pt idx="290">
                  <c:v>110.26666666666667</c:v>
                </c:pt>
                <c:pt idx="291">
                  <c:v>111.52222222222224</c:v>
                </c:pt>
                <c:pt idx="292">
                  <c:v>110.66666666666667</c:v>
                </c:pt>
                <c:pt idx="293">
                  <c:v>110.23333333333332</c:v>
                </c:pt>
                <c:pt idx="294">
                  <c:v>111.46666666666667</c:v>
                </c:pt>
                <c:pt idx="295">
                  <c:v>111.67777777777779</c:v>
                </c:pt>
                <c:pt idx="296">
                  <c:v>111.12222222222223</c:v>
                </c:pt>
                <c:pt idx="297">
                  <c:v>111.9</c:v>
                </c:pt>
                <c:pt idx="298">
                  <c:v>112.55555555555554</c:v>
                </c:pt>
                <c:pt idx="299">
                  <c:v>111.47777777777779</c:v>
                </c:pt>
                <c:pt idx="300">
                  <c:v>111.38888888888889</c:v>
                </c:pt>
                <c:pt idx="301">
                  <c:v>113.23333333333332</c:v>
                </c:pt>
                <c:pt idx="302">
                  <c:v>113.26666666666667</c:v>
                </c:pt>
                <c:pt idx="303">
                  <c:v>112.76666666666667</c:v>
                </c:pt>
                <c:pt idx="304">
                  <c:v>113.08888888888889</c:v>
                </c:pt>
                <c:pt idx="305">
                  <c:v>114.17777777777778</c:v>
                </c:pt>
                <c:pt idx="306">
                  <c:v>114.58888888888887</c:v>
                </c:pt>
                <c:pt idx="307">
                  <c:v>114.35555555555557</c:v>
                </c:pt>
                <c:pt idx="308">
                  <c:v>114.05555555555556</c:v>
                </c:pt>
                <c:pt idx="309">
                  <c:v>114.1888888888889</c:v>
                </c:pt>
                <c:pt idx="310">
                  <c:v>114.23333333333335</c:v>
                </c:pt>
                <c:pt idx="311">
                  <c:v>114.43333333333332</c:v>
                </c:pt>
                <c:pt idx="312">
                  <c:v>115.38888888888887</c:v>
                </c:pt>
                <c:pt idx="313">
                  <c:v>115.44444444444446</c:v>
                </c:pt>
                <c:pt idx="314">
                  <c:v>115.52222222222221</c:v>
                </c:pt>
                <c:pt idx="315">
                  <c:v>113.58888888888889</c:v>
                </c:pt>
                <c:pt idx="316">
                  <c:v>112.78888888888889</c:v>
                </c:pt>
                <c:pt idx="317">
                  <c:v>111.54444444444445</c:v>
                </c:pt>
                <c:pt idx="318">
                  <c:v>111.12222222222223</c:v>
                </c:pt>
                <c:pt idx="319">
                  <c:v>112.58888888888889</c:v>
                </c:pt>
                <c:pt idx="320">
                  <c:v>113.54444444444445</c:v>
                </c:pt>
                <c:pt idx="321">
                  <c:v>112.77777777777777</c:v>
                </c:pt>
                <c:pt idx="322">
                  <c:v>111.93333333333332</c:v>
                </c:pt>
                <c:pt idx="323">
                  <c:v>112.33333333333333</c:v>
                </c:pt>
                <c:pt idx="324">
                  <c:v>111.65555555555555</c:v>
                </c:pt>
                <c:pt idx="325">
                  <c:v>111.24444444444445</c:v>
                </c:pt>
                <c:pt idx="326">
                  <c:v>111.68888888888888</c:v>
                </c:pt>
                <c:pt idx="327">
                  <c:v>111.54444444444445</c:v>
                </c:pt>
                <c:pt idx="328">
                  <c:v>110.44444444444446</c:v>
                </c:pt>
                <c:pt idx="329">
                  <c:v>109.39999999999999</c:v>
                </c:pt>
                <c:pt idx="330">
                  <c:v>108.35555555555555</c:v>
                </c:pt>
                <c:pt idx="331">
                  <c:v>105.84444444444445</c:v>
                </c:pt>
                <c:pt idx="332">
                  <c:v>103.78888888888889</c:v>
                </c:pt>
                <c:pt idx="333">
                  <c:v>105.94444444444444</c:v>
                </c:pt>
                <c:pt idx="334">
                  <c:v>106.33333333333334</c:v>
                </c:pt>
                <c:pt idx="335">
                  <c:v>108.64444444444446</c:v>
                </c:pt>
                <c:pt idx="336">
                  <c:v>108.27777777777779</c:v>
                </c:pt>
                <c:pt idx="337">
                  <c:v>108.81111111111113</c:v>
                </c:pt>
                <c:pt idx="338">
                  <c:v>110.43333333333334</c:v>
                </c:pt>
                <c:pt idx="339">
                  <c:v>110.5</c:v>
                </c:pt>
                <c:pt idx="340">
                  <c:v>110.64444444444443</c:v>
                </c:pt>
                <c:pt idx="341">
                  <c:v>110.58888888888889</c:v>
                </c:pt>
                <c:pt idx="342">
                  <c:v>111.57777777777778</c:v>
                </c:pt>
                <c:pt idx="343">
                  <c:v>110.7</c:v>
                </c:pt>
                <c:pt idx="344">
                  <c:v>112.48888888888888</c:v>
                </c:pt>
                <c:pt idx="345">
                  <c:v>112.55555555555554</c:v>
                </c:pt>
                <c:pt idx="346">
                  <c:v>112.43333333333334</c:v>
                </c:pt>
                <c:pt idx="347">
                  <c:v>113.07777777777777</c:v>
                </c:pt>
                <c:pt idx="348">
                  <c:v>112.6111111111111</c:v>
                </c:pt>
                <c:pt idx="349">
                  <c:v>113.21111111111111</c:v>
                </c:pt>
                <c:pt idx="350">
                  <c:v>112.8111111111111</c:v>
                </c:pt>
                <c:pt idx="351">
                  <c:v>111.23333333333333</c:v>
                </c:pt>
                <c:pt idx="352">
                  <c:v>112.02222222222223</c:v>
                </c:pt>
                <c:pt idx="353">
                  <c:v>111.03333333333335</c:v>
                </c:pt>
                <c:pt idx="354">
                  <c:v>111.14444444444445</c:v>
                </c:pt>
                <c:pt idx="355">
                  <c:v>108.75555555555556</c:v>
                </c:pt>
                <c:pt idx="356">
                  <c:v>109.24444444444444</c:v>
                </c:pt>
                <c:pt idx="357">
                  <c:v>111.5</c:v>
                </c:pt>
                <c:pt idx="358">
                  <c:v>112.08888888888889</c:v>
                </c:pt>
                <c:pt idx="359">
                  <c:v>112.84444444444443</c:v>
                </c:pt>
                <c:pt idx="360">
                  <c:v>113.57777777777778</c:v>
                </c:pt>
                <c:pt idx="361">
                  <c:v>114.44444444444444</c:v>
                </c:pt>
                <c:pt idx="362">
                  <c:v>114.85555555555555</c:v>
                </c:pt>
                <c:pt idx="363">
                  <c:v>115.10000000000001</c:v>
                </c:pt>
                <c:pt idx="364">
                  <c:v>114.65555555555555</c:v>
                </c:pt>
                <c:pt idx="365">
                  <c:v>113.07777777777777</c:v>
                </c:pt>
                <c:pt idx="366">
                  <c:v>112.58888888888889</c:v>
                </c:pt>
                <c:pt idx="367">
                  <c:v>113.97777777777777</c:v>
                </c:pt>
                <c:pt idx="368">
                  <c:v>112.73333333333333</c:v>
                </c:pt>
                <c:pt idx="369">
                  <c:v>114.07777777777778</c:v>
                </c:pt>
                <c:pt idx="370">
                  <c:v>114.3</c:v>
                </c:pt>
                <c:pt idx="371">
                  <c:v>113.44444444444444</c:v>
                </c:pt>
                <c:pt idx="372">
                  <c:v>113.03333333333335</c:v>
                </c:pt>
                <c:pt idx="373">
                  <c:v>112.73333333333333</c:v>
                </c:pt>
                <c:pt idx="374">
                  <c:v>111.38888888888889</c:v>
                </c:pt>
                <c:pt idx="375">
                  <c:v>111.94444444444444</c:v>
                </c:pt>
                <c:pt idx="376">
                  <c:v>112.84444444444443</c:v>
                </c:pt>
                <c:pt idx="377">
                  <c:v>111.86666666666667</c:v>
                </c:pt>
                <c:pt idx="378">
                  <c:v>109.91111111111111</c:v>
                </c:pt>
                <c:pt idx="379">
                  <c:v>110.26666666666667</c:v>
                </c:pt>
                <c:pt idx="380">
                  <c:v>110.78888888888889</c:v>
                </c:pt>
                <c:pt idx="381">
                  <c:v>110.3</c:v>
                </c:pt>
                <c:pt idx="382">
                  <c:v>111.06666666666666</c:v>
                </c:pt>
                <c:pt idx="383">
                  <c:v>110.95555555555556</c:v>
                </c:pt>
                <c:pt idx="384">
                  <c:v>112.7</c:v>
                </c:pt>
                <c:pt idx="385">
                  <c:v>111.58888888888889</c:v>
                </c:pt>
                <c:pt idx="386">
                  <c:v>110.01111111111112</c:v>
                </c:pt>
                <c:pt idx="387">
                  <c:v>110.23333333333332</c:v>
                </c:pt>
                <c:pt idx="388">
                  <c:v>109.55555555555554</c:v>
                </c:pt>
                <c:pt idx="389">
                  <c:v>109.7</c:v>
                </c:pt>
                <c:pt idx="390">
                  <c:v>108.59999999999998</c:v>
                </c:pt>
                <c:pt idx="391">
                  <c:v>109.65555555555555</c:v>
                </c:pt>
                <c:pt idx="392">
                  <c:v>108.01111111111111</c:v>
                </c:pt>
                <c:pt idx="393">
                  <c:v>108.07777777777778</c:v>
                </c:pt>
                <c:pt idx="394">
                  <c:v>109.63333333333334</c:v>
                </c:pt>
                <c:pt idx="395">
                  <c:v>108</c:v>
                </c:pt>
                <c:pt idx="396">
                  <c:v>107.58888888888889</c:v>
                </c:pt>
                <c:pt idx="397">
                  <c:v>108.68888888888888</c:v>
                </c:pt>
                <c:pt idx="398">
                  <c:v>107.88888888888889</c:v>
                </c:pt>
                <c:pt idx="399">
                  <c:v>109.96666666666665</c:v>
                </c:pt>
                <c:pt idx="400">
                  <c:v>109.65555555555555</c:v>
                </c:pt>
                <c:pt idx="401">
                  <c:v>107.41111111111113</c:v>
                </c:pt>
                <c:pt idx="402">
                  <c:v>106.94444444444444</c:v>
                </c:pt>
                <c:pt idx="403">
                  <c:v>107.1</c:v>
                </c:pt>
                <c:pt idx="404">
                  <c:v>108.01111111111111</c:v>
                </c:pt>
                <c:pt idx="405">
                  <c:v>110.11111111111111</c:v>
                </c:pt>
                <c:pt idx="406">
                  <c:v>111.75555555555556</c:v>
                </c:pt>
                <c:pt idx="407">
                  <c:v>112.72222222222223</c:v>
                </c:pt>
                <c:pt idx="408">
                  <c:v>112.83333333333334</c:v>
                </c:pt>
                <c:pt idx="409">
                  <c:v>112.20000000000002</c:v>
                </c:pt>
                <c:pt idx="410">
                  <c:v>111.43333333333334</c:v>
                </c:pt>
                <c:pt idx="411">
                  <c:v>111.99999999999999</c:v>
                </c:pt>
                <c:pt idx="412">
                  <c:v>110.17777777777778</c:v>
                </c:pt>
                <c:pt idx="413">
                  <c:v>107.24444444444443</c:v>
                </c:pt>
                <c:pt idx="414">
                  <c:v>106.58888888888889</c:v>
                </c:pt>
                <c:pt idx="415">
                  <c:v>107.55555555555556</c:v>
                </c:pt>
                <c:pt idx="416">
                  <c:v>106.55555555555556</c:v>
                </c:pt>
                <c:pt idx="417">
                  <c:v>105.98888888888889</c:v>
                </c:pt>
                <c:pt idx="418">
                  <c:v>103.8888888888889</c:v>
                </c:pt>
                <c:pt idx="419">
                  <c:v>105.17777777777778</c:v>
                </c:pt>
                <c:pt idx="420">
                  <c:v>106.84444444444443</c:v>
                </c:pt>
                <c:pt idx="421">
                  <c:v>108.74444444444444</c:v>
                </c:pt>
                <c:pt idx="422">
                  <c:v>109.32222222222224</c:v>
                </c:pt>
                <c:pt idx="423">
                  <c:v>108.5</c:v>
                </c:pt>
                <c:pt idx="424">
                  <c:v>108.17777777777778</c:v>
                </c:pt>
                <c:pt idx="425">
                  <c:v>106.47777777777779</c:v>
                </c:pt>
                <c:pt idx="426">
                  <c:v>106.02222222222221</c:v>
                </c:pt>
                <c:pt idx="427">
                  <c:v>105.24444444444445</c:v>
                </c:pt>
                <c:pt idx="428">
                  <c:v>102.57777777777777</c:v>
                </c:pt>
                <c:pt idx="429">
                  <c:v>100.34444444444443</c:v>
                </c:pt>
                <c:pt idx="430">
                  <c:v>98.355555555555554</c:v>
                </c:pt>
                <c:pt idx="431">
                  <c:v>94.666666666666671</c:v>
                </c:pt>
                <c:pt idx="432">
                  <c:v>93.3</c:v>
                </c:pt>
                <c:pt idx="433">
                  <c:v>89.277777777777771</c:v>
                </c:pt>
                <c:pt idx="434">
                  <c:v>90.155555555555551</c:v>
                </c:pt>
                <c:pt idx="435">
                  <c:v>85.8</c:v>
                </c:pt>
                <c:pt idx="436">
                  <c:v>88.455555555555549</c:v>
                </c:pt>
                <c:pt idx="437">
                  <c:v>91.922222222222231</c:v>
                </c:pt>
                <c:pt idx="438">
                  <c:v>92.555555555555557</c:v>
                </c:pt>
                <c:pt idx="439">
                  <c:v>92.111111111111114</c:v>
                </c:pt>
                <c:pt idx="440">
                  <c:v>92.355555555555554</c:v>
                </c:pt>
                <c:pt idx="441">
                  <c:v>87.3888888888889</c:v>
                </c:pt>
                <c:pt idx="442">
                  <c:v>85.74444444444444</c:v>
                </c:pt>
                <c:pt idx="443">
                  <c:v>86.455555555555563</c:v>
                </c:pt>
                <c:pt idx="444">
                  <c:v>86.933333333333323</c:v>
                </c:pt>
                <c:pt idx="445">
                  <c:v>88.533333333333346</c:v>
                </c:pt>
                <c:pt idx="446">
                  <c:v>87.766666666666666</c:v>
                </c:pt>
                <c:pt idx="447">
                  <c:v>86.966666666666654</c:v>
                </c:pt>
                <c:pt idx="448">
                  <c:v>88.955555555555549</c:v>
                </c:pt>
                <c:pt idx="449">
                  <c:v>89.111111111111114</c:v>
                </c:pt>
                <c:pt idx="450">
                  <c:v>91.733333333333334</c:v>
                </c:pt>
                <c:pt idx="451">
                  <c:v>91.75555555555556</c:v>
                </c:pt>
                <c:pt idx="452">
                  <c:v>88.733333333333334</c:v>
                </c:pt>
                <c:pt idx="453">
                  <c:v>84.577777777777783</c:v>
                </c:pt>
                <c:pt idx="454">
                  <c:v>83.677777777777777</c:v>
                </c:pt>
                <c:pt idx="455">
                  <c:v>86.688888888888883</c:v>
                </c:pt>
                <c:pt idx="456">
                  <c:v>87.144444444444446</c:v>
                </c:pt>
                <c:pt idx="457">
                  <c:v>83.8</c:v>
                </c:pt>
                <c:pt idx="458">
                  <c:v>81.022222222222226</c:v>
                </c:pt>
                <c:pt idx="459">
                  <c:v>82.24444444444444</c:v>
                </c:pt>
                <c:pt idx="460">
                  <c:v>84.144444444444446</c:v>
                </c:pt>
                <c:pt idx="461">
                  <c:v>86.611111111111114</c:v>
                </c:pt>
                <c:pt idx="462">
                  <c:v>87.022222222222211</c:v>
                </c:pt>
                <c:pt idx="463">
                  <c:v>84.75555555555556</c:v>
                </c:pt>
                <c:pt idx="464">
                  <c:v>86.388888888888886</c:v>
                </c:pt>
                <c:pt idx="465">
                  <c:v>84.933333333333323</c:v>
                </c:pt>
                <c:pt idx="466">
                  <c:v>80.711111111111109</c:v>
                </c:pt>
                <c:pt idx="467">
                  <c:v>81.388888888888886</c:v>
                </c:pt>
                <c:pt idx="468">
                  <c:v>83.2</c:v>
                </c:pt>
                <c:pt idx="469">
                  <c:v>87.4</c:v>
                </c:pt>
                <c:pt idx="470">
                  <c:v>86.666666666666671</c:v>
                </c:pt>
                <c:pt idx="471">
                  <c:v>87.75555555555556</c:v>
                </c:pt>
                <c:pt idx="472">
                  <c:v>86.3</c:v>
                </c:pt>
                <c:pt idx="473">
                  <c:v>84.64444444444446</c:v>
                </c:pt>
                <c:pt idx="474">
                  <c:v>82.37777777777778</c:v>
                </c:pt>
                <c:pt idx="475">
                  <c:v>85.62222222222222</c:v>
                </c:pt>
                <c:pt idx="476">
                  <c:v>88.333333333333329</c:v>
                </c:pt>
                <c:pt idx="477">
                  <c:v>88.922222222222231</c:v>
                </c:pt>
                <c:pt idx="478">
                  <c:v>90.911111111111097</c:v>
                </c:pt>
                <c:pt idx="479">
                  <c:v>90.699999999999989</c:v>
                </c:pt>
                <c:pt idx="480">
                  <c:v>92.888888888888886</c:v>
                </c:pt>
                <c:pt idx="481">
                  <c:v>91.577777777777783</c:v>
                </c:pt>
                <c:pt idx="482">
                  <c:v>92.555555555555557</c:v>
                </c:pt>
                <c:pt idx="483">
                  <c:v>91.044444444444437</c:v>
                </c:pt>
                <c:pt idx="484">
                  <c:v>90.87777777777778</c:v>
                </c:pt>
                <c:pt idx="485">
                  <c:v>91.433333333333337</c:v>
                </c:pt>
                <c:pt idx="486">
                  <c:v>89.366666666666674</c:v>
                </c:pt>
                <c:pt idx="487">
                  <c:v>91.933333333333323</c:v>
                </c:pt>
                <c:pt idx="488">
                  <c:v>93.24444444444444</c:v>
                </c:pt>
                <c:pt idx="489">
                  <c:v>92.422222222222231</c:v>
                </c:pt>
                <c:pt idx="490">
                  <c:v>92.177777777777763</c:v>
                </c:pt>
                <c:pt idx="491">
                  <c:v>97.088888888888874</c:v>
                </c:pt>
                <c:pt idx="492">
                  <c:v>96.577777777777783</c:v>
                </c:pt>
                <c:pt idx="493">
                  <c:v>93.611111111111114</c:v>
                </c:pt>
                <c:pt idx="494">
                  <c:v>89.077777777777783</c:v>
                </c:pt>
                <c:pt idx="495">
                  <c:v>90.25555555555556</c:v>
                </c:pt>
                <c:pt idx="496">
                  <c:v>92.644444444444446</c:v>
                </c:pt>
                <c:pt idx="497">
                  <c:v>90.788888888888891</c:v>
                </c:pt>
                <c:pt idx="498">
                  <c:v>90.455555555555549</c:v>
                </c:pt>
                <c:pt idx="499">
                  <c:v>91.255555555555546</c:v>
                </c:pt>
                <c:pt idx="500">
                  <c:v>89.155555555555551</c:v>
                </c:pt>
                <c:pt idx="501">
                  <c:v>89.166666666666671</c:v>
                </c:pt>
                <c:pt idx="502">
                  <c:v>91.76666666666668</c:v>
                </c:pt>
                <c:pt idx="503">
                  <c:v>90.422222222222217</c:v>
                </c:pt>
                <c:pt idx="504">
                  <c:v>89.166666666666671</c:v>
                </c:pt>
                <c:pt idx="505">
                  <c:v>89.411111111111111</c:v>
                </c:pt>
                <c:pt idx="506">
                  <c:v>88.211111111111109</c:v>
                </c:pt>
                <c:pt idx="507">
                  <c:v>87.8</c:v>
                </c:pt>
                <c:pt idx="508">
                  <c:v>84.811111111111103</c:v>
                </c:pt>
                <c:pt idx="509">
                  <c:v>83.933333333333337</c:v>
                </c:pt>
                <c:pt idx="510">
                  <c:v>82.566666666666663</c:v>
                </c:pt>
                <c:pt idx="511">
                  <c:v>82.48888888888888</c:v>
                </c:pt>
                <c:pt idx="512">
                  <c:v>83.177777777777777</c:v>
                </c:pt>
                <c:pt idx="513">
                  <c:v>87.188888888888883</c:v>
                </c:pt>
                <c:pt idx="514">
                  <c:v>87.700000000000017</c:v>
                </c:pt>
                <c:pt idx="515">
                  <c:v>91.433333333333337</c:v>
                </c:pt>
                <c:pt idx="516">
                  <c:v>90.699999999999989</c:v>
                </c:pt>
                <c:pt idx="517">
                  <c:v>91.7</c:v>
                </c:pt>
                <c:pt idx="518">
                  <c:v>92.811111111111117</c:v>
                </c:pt>
                <c:pt idx="519">
                  <c:v>92.233333333333334</c:v>
                </c:pt>
                <c:pt idx="520">
                  <c:v>91.76666666666668</c:v>
                </c:pt>
                <c:pt idx="521">
                  <c:v>89.611111111111114</c:v>
                </c:pt>
                <c:pt idx="522">
                  <c:v>91.388888888888886</c:v>
                </c:pt>
                <c:pt idx="523">
                  <c:v>88.766666666666666</c:v>
                </c:pt>
                <c:pt idx="524">
                  <c:v>88.555555555555557</c:v>
                </c:pt>
                <c:pt idx="525">
                  <c:v>86.433333333333337</c:v>
                </c:pt>
                <c:pt idx="526">
                  <c:v>87.188888888888883</c:v>
                </c:pt>
                <c:pt idx="527">
                  <c:v>86.722222222222229</c:v>
                </c:pt>
                <c:pt idx="528">
                  <c:v>86.733333333333334</c:v>
                </c:pt>
                <c:pt idx="529">
                  <c:v>89.177777777777777</c:v>
                </c:pt>
                <c:pt idx="530">
                  <c:v>88.466666666666669</c:v>
                </c:pt>
                <c:pt idx="531">
                  <c:v>89.522222222222211</c:v>
                </c:pt>
                <c:pt idx="532">
                  <c:v>90.211111111111109</c:v>
                </c:pt>
                <c:pt idx="533">
                  <c:v>90.222222222222229</c:v>
                </c:pt>
                <c:pt idx="534">
                  <c:v>89.111111111111114</c:v>
                </c:pt>
                <c:pt idx="535">
                  <c:v>90.3</c:v>
                </c:pt>
                <c:pt idx="536">
                  <c:v>91.166666666666657</c:v>
                </c:pt>
                <c:pt idx="537">
                  <c:v>93.144444444444446</c:v>
                </c:pt>
                <c:pt idx="538">
                  <c:v>94</c:v>
                </c:pt>
                <c:pt idx="539">
                  <c:v>92.677777777777777</c:v>
                </c:pt>
                <c:pt idx="540">
                  <c:v>91.422222222222231</c:v>
                </c:pt>
                <c:pt idx="541">
                  <c:v>91.055555555555557</c:v>
                </c:pt>
                <c:pt idx="542">
                  <c:v>90.633333333333326</c:v>
                </c:pt>
                <c:pt idx="543">
                  <c:v>92.8</c:v>
                </c:pt>
                <c:pt idx="544">
                  <c:v>92.63333333333334</c:v>
                </c:pt>
                <c:pt idx="545">
                  <c:v>92.977777777777789</c:v>
                </c:pt>
                <c:pt idx="546">
                  <c:v>92.63333333333334</c:v>
                </c:pt>
                <c:pt idx="547">
                  <c:v>93.544444444444437</c:v>
                </c:pt>
                <c:pt idx="548">
                  <c:v>94.833333333333329</c:v>
                </c:pt>
                <c:pt idx="549">
                  <c:v>94.777777777777771</c:v>
                </c:pt>
                <c:pt idx="550">
                  <c:v>96.455555555555563</c:v>
                </c:pt>
                <c:pt idx="551">
                  <c:v>96.255555555555546</c:v>
                </c:pt>
                <c:pt idx="552">
                  <c:v>96.933333333333323</c:v>
                </c:pt>
                <c:pt idx="553">
                  <c:v>96.37777777777778</c:v>
                </c:pt>
                <c:pt idx="554">
                  <c:v>96.266666666666666</c:v>
                </c:pt>
                <c:pt idx="555">
                  <c:v>97.899999999999991</c:v>
                </c:pt>
                <c:pt idx="556">
                  <c:v>96.988888888888894</c:v>
                </c:pt>
                <c:pt idx="557">
                  <c:v>95.611111111111114</c:v>
                </c:pt>
                <c:pt idx="558">
                  <c:v>96.277777777777786</c:v>
                </c:pt>
                <c:pt idx="559">
                  <c:v>98.488888888888894</c:v>
                </c:pt>
                <c:pt idx="560">
                  <c:v>98.844444444444434</c:v>
                </c:pt>
                <c:pt idx="561">
                  <c:v>100.28888888888889</c:v>
                </c:pt>
                <c:pt idx="562">
                  <c:v>99.977777777777789</c:v>
                </c:pt>
                <c:pt idx="563">
                  <c:v>100.03333333333333</c:v>
                </c:pt>
                <c:pt idx="564">
                  <c:v>100.10000000000001</c:v>
                </c:pt>
                <c:pt idx="565">
                  <c:v>100.43333333333334</c:v>
                </c:pt>
                <c:pt idx="566">
                  <c:v>98.977777777777774</c:v>
                </c:pt>
                <c:pt idx="567">
                  <c:v>99.433333333333323</c:v>
                </c:pt>
                <c:pt idx="568">
                  <c:v>99.222222222222229</c:v>
                </c:pt>
                <c:pt idx="569">
                  <c:v>99.655555555555551</c:v>
                </c:pt>
                <c:pt idx="570">
                  <c:v>99.444444444444443</c:v>
                </c:pt>
                <c:pt idx="571">
                  <c:v>100.74444444444444</c:v>
                </c:pt>
                <c:pt idx="572">
                  <c:v>102.05555555555554</c:v>
                </c:pt>
                <c:pt idx="573">
                  <c:v>101.55555555555556</c:v>
                </c:pt>
                <c:pt idx="574">
                  <c:v>100.69999999999999</c:v>
                </c:pt>
                <c:pt idx="575">
                  <c:v>100.21111111111112</c:v>
                </c:pt>
                <c:pt idx="576">
                  <c:v>100.84444444444445</c:v>
                </c:pt>
                <c:pt idx="577">
                  <c:v>100.35555555555555</c:v>
                </c:pt>
                <c:pt idx="578">
                  <c:v>100.65555555555557</c:v>
                </c:pt>
                <c:pt idx="579">
                  <c:v>100.47777777777777</c:v>
                </c:pt>
                <c:pt idx="580">
                  <c:v>101.76666666666667</c:v>
                </c:pt>
                <c:pt idx="581">
                  <c:v>101.82222222222221</c:v>
                </c:pt>
                <c:pt idx="582">
                  <c:v>101.12222222222222</c:v>
                </c:pt>
                <c:pt idx="583">
                  <c:v>97.75555555555556</c:v>
                </c:pt>
                <c:pt idx="584">
                  <c:v>98.544444444444451</c:v>
                </c:pt>
                <c:pt idx="585">
                  <c:v>100.75555555555556</c:v>
                </c:pt>
                <c:pt idx="586">
                  <c:v>100.97777777777776</c:v>
                </c:pt>
                <c:pt idx="587">
                  <c:v>100.93333333333334</c:v>
                </c:pt>
                <c:pt idx="588">
                  <c:v>102.62222222222222</c:v>
                </c:pt>
                <c:pt idx="589">
                  <c:v>103.17777777777776</c:v>
                </c:pt>
                <c:pt idx="590">
                  <c:v>103.85555555555554</c:v>
                </c:pt>
                <c:pt idx="591">
                  <c:v>104.32222222222222</c:v>
                </c:pt>
                <c:pt idx="592">
                  <c:v>104.37777777777777</c:v>
                </c:pt>
                <c:pt idx="593">
                  <c:v>103.16666666666666</c:v>
                </c:pt>
                <c:pt idx="594">
                  <c:v>102.87777777777778</c:v>
                </c:pt>
                <c:pt idx="595">
                  <c:v>101.46666666666665</c:v>
                </c:pt>
                <c:pt idx="596">
                  <c:v>101.54444444444444</c:v>
                </c:pt>
                <c:pt idx="597">
                  <c:v>102.38888888888889</c:v>
                </c:pt>
                <c:pt idx="598">
                  <c:v>101.85555555555557</c:v>
                </c:pt>
                <c:pt idx="599">
                  <c:v>100.76666666666667</c:v>
                </c:pt>
                <c:pt idx="600">
                  <c:v>99.122222222222206</c:v>
                </c:pt>
                <c:pt idx="601">
                  <c:v>100.24444444444444</c:v>
                </c:pt>
                <c:pt idx="602">
                  <c:v>101.25555555555555</c:v>
                </c:pt>
                <c:pt idx="603">
                  <c:v>99.822222222222223</c:v>
                </c:pt>
                <c:pt idx="604">
                  <c:v>97.111111111111114</c:v>
                </c:pt>
                <c:pt idx="605">
                  <c:v>97.13333333333334</c:v>
                </c:pt>
                <c:pt idx="606">
                  <c:v>94.344444444444449</c:v>
                </c:pt>
                <c:pt idx="607">
                  <c:v>95.211111111111109</c:v>
                </c:pt>
                <c:pt idx="608">
                  <c:v>96.066666666666663</c:v>
                </c:pt>
                <c:pt idx="609">
                  <c:v>93.911111111111111</c:v>
                </c:pt>
                <c:pt idx="610">
                  <c:v>94.25555555555556</c:v>
                </c:pt>
                <c:pt idx="611">
                  <c:v>96.711111111111109</c:v>
                </c:pt>
                <c:pt idx="612">
                  <c:v>95.2</c:v>
                </c:pt>
                <c:pt idx="613">
                  <c:v>93.866666666666674</c:v>
                </c:pt>
                <c:pt idx="614">
                  <c:v>94.64444444444446</c:v>
                </c:pt>
                <c:pt idx="615">
                  <c:v>91.888888888888886</c:v>
                </c:pt>
                <c:pt idx="616">
                  <c:v>93.455555555555563</c:v>
                </c:pt>
                <c:pt idx="617">
                  <c:v>95.288888888888891</c:v>
                </c:pt>
                <c:pt idx="618">
                  <c:v>95.311111111111117</c:v>
                </c:pt>
                <c:pt idx="619">
                  <c:v>96.444444444444443</c:v>
                </c:pt>
                <c:pt idx="620">
                  <c:v>95.411111111111111</c:v>
                </c:pt>
                <c:pt idx="621">
                  <c:v>95.433333333333337</c:v>
                </c:pt>
                <c:pt idx="622">
                  <c:v>94.944444444444443</c:v>
                </c:pt>
                <c:pt idx="623">
                  <c:v>94.822222222222223</c:v>
                </c:pt>
                <c:pt idx="624">
                  <c:v>93.388888888888886</c:v>
                </c:pt>
                <c:pt idx="625">
                  <c:v>94.611111111111114</c:v>
                </c:pt>
                <c:pt idx="626">
                  <c:v>92.833333333333329</c:v>
                </c:pt>
                <c:pt idx="627">
                  <c:v>92.544444444444451</c:v>
                </c:pt>
                <c:pt idx="628">
                  <c:v>93.588888888888889</c:v>
                </c:pt>
                <c:pt idx="629">
                  <c:v>93.977777777777774</c:v>
                </c:pt>
                <c:pt idx="630">
                  <c:v>91.8</c:v>
                </c:pt>
                <c:pt idx="631">
                  <c:v>90.911111111111097</c:v>
                </c:pt>
                <c:pt idx="632">
                  <c:v>90.688888888888897</c:v>
                </c:pt>
                <c:pt idx="633">
                  <c:v>89.611111111111114</c:v>
                </c:pt>
                <c:pt idx="634">
                  <c:v>89.355555555555554</c:v>
                </c:pt>
                <c:pt idx="635">
                  <c:v>90.01111111111112</c:v>
                </c:pt>
                <c:pt idx="636">
                  <c:v>91.822222222222223</c:v>
                </c:pt>
                <c:pt idx="637">
                  <c:v>89.3888888888889</c:v>
                </c:pt>
                <c:pt idx="638">
                  <c:v>90.2</c:v>
                </c:pt>
                <c:pt idx="639">
                  <c:v>90.466666666666669</c:v>
                </c:pt>
                <c:pt idx="640">
                  <c:v>90.166666666666671</c:v>
                </c:pt>
                <c:pt idx="641">
                  <c:v>90.911111111111097</c:v>
                </c:pt>
                <c:pt idx="642">
                  <c:v>89.211111111111123</c:v>
                </c:pt>
                <c:pt idx="643">
                  <c:v>89.088888888888889</c:v>
                </c:pt>
                <c:pt idx="644">
                  <c:v>87.022222222222211</c:v>
                </c:pt>
                <c:pt idx="645">
                  <c:v>87.01111111111112</c:v>
                </c:pt>
                <c:pt idx="646">
                  <c:v>87.455555555555549</c:v>
                </c:pt>
                <c:pt idx="647">
                  <c:v>89.555555555555543</c:v>
                </c:pt>
                <c:pt idx="648">
                  <c:v>90.12222222222222</c:v>
                </c:pt>
                <c:pt idx="649">
                  <c:v>90.033333333333331</c:v>
                </c:pt>
                <c:pt idx="650">
                  <c:v>89.733333333333348</c:v>
                </c:pt>
                <c:pt idx="651">
                  <c:v>89.766666666666666</c:v>
                </c:pt>
                <c:pt idx="652">
                  <c:v>89.533333333333331</c:v>
                </c:pt>
                <c:pt idx="653">
                  <c:v>89.677777777777763</c:v>
                </c:pt>
                <c:pt idx="654">
                  <c:v>91.044444444444437</c:v>
                </c:pt>
                <c:pt idx="655">
                  <c:v>90.577777777777769</c:v>
                </c:pt>
                <c:pt idx="656">
                  <c:v>92.288888888888891</c:v>
                </c:pt>
                <c:pt idx="657">
                  <c:v>92.844444444444449</c:v>
                </c:pt>
                <c:pt idx="658">
                  <c:v>92.466666666666669</c:v>
                </c:pt>
                <c:pt idx="659">
                  <c:v>91.833333333333343</c:v>
                </c:pt>
                <c:pt idx="660">
                  <c:v>89.711111111111109</c:v>
                </c:pt>
                <c:pt idx="661">
                  <c:v>89.37777777777778</c:v>
                </c:pt>
                <c:pt idx="662">
                  <c:v>90.9</c:v>
                </c:pt>
                <c:pt idx="663">
                  <c:v>90.555555555555557</c:v>
                </c:pt>
                <c:pt idx="664">
                  <c:v>94.733333333333334</c:v>
                </c:pt>
                <c:pt idx="665">
                  <c:v>95.844444444444449</c:v>
                </c:pt>
                <c:pt idx="666">
                  <c:v>96.944444444444443</c:v>
                </c:pt>
                <c:pt idx="667">
                  <c:v>96.822222222222223</c:v>
                </c:pt>
                <c:pt idx="668">
                  <c:v>95.766666666666666</c:v>
                </c:pt>
                <c:pt idx="669">
                  <c:v>93.911111111111111</c:v>
                </c:pt>
                <c:pt idx="670">
                  <c:v>93.6</c:v>
                </c:pt>
                <c:pt idx="671">
                  <c:v>94.344444444444449</c:v>
                </c:pt>
                <c:pt idx="672">
                  <c:v>94.24444444444444</c:v>
                </c:pt>
                <c:pt idx="673">
                  <c:v>93.4</c:v>
                </c:pt>
                <c:pt idx="674">
                  <c:v>94.777777777777771</c:v>
                </c:pt>
                <c:pt idx="675">
                  <c:v>94.7</c:v>
                </c:pt>
                <c:pt idx="676">
                  <c:v>94.655555555555551</c:v>
                </c:pt>
                <c:pt idx="677">
                  <c:v>95.888888888888886</c:v>
                </c:pt>
                <c:pt idx="678">
                  <c:v>96.855555555555554</c:v>
                </c:pt>
                <c:pt idx="679">
                  <c:v>94.544444444444451</c:v>
                </c:pt>
                <c:pt idx="680">
                  <c:v>91.933333333333323</c:v>
                </c:pt>
                <c:pt idx="681">
                  <c:v>91</c:v>
                </c:pt>
                <c:pt idx="682">
                  <c:v>91.333333333333329</c:v>
                </c:pt>
                <c:pt idx="683">
                  <c:v>94.76666666666668</c:v>
                </c:pt>
                <c:pt idx="684">
                  <c:v>96.62222222222222</c:v>
                </c:pt>
                <c:pt idx="685">
                  <c:v>98.077777777777769</c:v>
                </c:pt>
                <c:pt idx="686">
                  <c:v>97.399999999999991</c:v>
                </c:pt>
                <c:pt idx="687">
                  <c:v>97.644444444444446</c:v>
                </c:pt>
                <c:pt idx="688">
                  <c:v>95.055555555555543</c:v>
                </c:pt>
                <c:pt idx="689">
                  <c:v>98.955555555555563</c:v>
                </c:pt>
                <c:pt idx="690">
                  <c:v>100.07777777777778</c:v>
                </c:pt>
                <c:pt idx="691">
                  <c:v>101.28888888888889</c:v>
                </c:pt>
                <c:pt idx="692">
                  <c:v>100.97777777777776</c:v>
                </c:pt>
                <c:pt idx="693">
                  <c:v>101.24444444444445</c:v>
                </c:pt>
                <c:pt idx="694">
                  <c:v>100.76666666666667</c:v>
                </c:pt>
                <c:pt idx="695">
                  <c:v>100.42222222222222</c:v>
                </c:pt>
                <c:pt idx="696">
                  <c:v>101.05555555555557</c:v>
                </c:pt>
                <c:pt idx="697">
                  <c:v>100.95555555555555</c:v>
                </c:pt>
                <c:pt idx="698">
                  <c:v>102.1</c:v>
                </c:pt>
                <c:pt idx="699">
                  <c:v>102.84444444444445</c:v>
                </c:pt>
                <c:pt idx="700">
                  <c:v>102.42222222222223</c:v>
                </c:pt>
                <c:pt idx="701">
                  <c:v>103.4111111111111</c:v>
                </c:pt>
                <c:pt idx="702">
                  <c:v>102.06666666666666</c:v>
                </c:pt>
                <c:pt idx="703">
                  <c:v>101.18888888888888</c:v>
                </c:pt>
                <c:pt idx="704">
                  <c:v>101.25555555555555</c:v>
                </c:pt>
                <c:pt idx="705">
                  <c:v>102.2</c:v>
                </c:pt>
                <c:pt idx="706">
                  <c:v>101.44444444444444</c:v>
                </c:pt>
                <c:pt idx="707">
                  <c:v>101.30000000000001</c:v>
                </c:pt>
                <c:pt idx="708">
                  <c:v>100.08888888888889</c:v>
                </c:pt>
                <c:pt idx="709">
                  <c:v>101.37777777777777</c:v>
                </c:pt>
                <c:pt idx="710">
                  <c:v>102.22222222222221</c:v>
                </c:pt>
                <c:pt idx="711">
                  <c:v>101.23333333333333</c:v>
                </c:pt>
                <c:pt idx="712">
                  <c:v>101.36666666666667</c:v>
                </c:pt>
                <c:pt idx="713">
                  <c:v>104.47777777777777</c:v>
                </c:pt>
                <c:pt idx="714">
                  <c:v>105.17777777777778</c:v>
                </c:pt>
                <c:pt idx="715">
                  <c:v>104.86666666666666</c:v>
                </c:pt>
                <c:pt idx="716">
                  <c:v>105.75555555555556</c:v>
                </c:pt>
                <c:pt idx="717">
                  <c:v>106.25555555555555</c:v>
                </c:pt>
                <c:pt idx="718">
                  <c:v>105.45555555555555</c:v>
                </c:pt>
                <c:pt idx="719">
                  <c:v>107.5</c:v>
                </c:pt>
                <c:pt idx="720">
                  <c:v>107.01111111111112</c:v>
                </c:pt>
                <c:pt idx="721">
                  <c:v>105.88888888888887</c:v>
                </c:pt>
                <c:pt idx="722">
                  <c:v>106.4</c:v>
                </c:pt>
                <c:pt idx="723">
                  <c:v>105.94444444444444</c:v>
                </c:pt>
                <c:pt idx="724">
                  <c:v>106.86666666666666</c:v>
                </c:pt>
                <c:pt idx="725">
                  <c:v>106.0888888888889</c:v>
                </c:pt>
                <c:pt idx="726">
                  <c:v>106.60000000000001</c:v>
                </c:pt>
                <c:pt idx="727">
                  <c:v>103.96666666666665</c:v>
                </c:pt>
                <c:pt idx="728">
                  <c:v>104.3111111111111</c:v>
                </c:pt>
                <c:pt idx="729">
                  <c:v>102.65555555555557</c:v>
                </c:pt>
                <c:pt idx="730">
                  <c:v>104.46666666666667</c:v>
                </c:pt>
                <c:pt idx="731">
                  <c:v>104.32222222222222</c:v>
                </c:pt>
                <c:pt idx="732">
                  <c:v>104.28888888888889</c:v>
                </c:pt>
                <c:pt idx="733">
                  <c:v>104.16666666666667</c:v>
                </c:pt>
                <c:pt idx="734">
                  <c:v>105.81111111111112</c:v>
                </c:pt>
                <c:pt idx="735">
                  <c:v>104.44444444444446</c:v>
                </c:pt>
                <c:pt idx="736">
                  <c:v>103.62222222222223</c:v>
                </c:pt>
                <c:pt idx="737">
                  <c:v>103.05555555555554</c:v>
                </c:pt>
                <c:pt idx="738">
                  <c:v>104.15555555555555</c:v>
                </c:pt>
                <c:pt idx="739">
                  <c:v>103.43333333333334</c:v>
                </c:pt>
                <c:pt idx="740">
                  <c:v>104.06666666666666</c:v>
                </c:pt>
                <c:pt idx="741">
                  <c:v>106.12222222222223</c:v>
                </c:pt>
                <c:pt idx="742">
                  <c:v>107</c:v>
                </c:pt>
                <c:pt idx="743">
                  <c:v>107.12222222222221</c:v>
                </c:pt>
                <c:pt idx="744">
                  <c:v>106</c:v>
                </c:pt>
                <c:pt idx="745">
                  <c:v>105.55555555555556</c:v>
                </c:pt>
                <c:pt idx="746">
                  <c:v>103.50000000000001</c:v>
                </c:pt>
                <c:pt idx="747">
                  <c:v>103.98888888888888</c:v>
                </c:pt>
                <c:pt idx="748">
                  <c:v>103.83333333333333</c:v>
                </c:pt>
                <c:pt idx="749">
                  <c:v>104.2</c:v>
                </c:pt>
                <c:pt idx="750">
                  <c:v>103.56666666666665</c:v>
                </c:pt>
                <c:pt idx="751">
                  <c:v>104.82222222222222</c:v>
                </c:pt>
                <c:pt idx="752">
                  <c:v>104.4111111111111</c:v>
                </c:pt>
                <c:pt idx="753">
                  <c:v>105.56666666666668</c:v>
                </c:pt>
                <c:pt idx="754">
                  <c:v>106.12222222222223</c:v>
                </c:pt>
                <c:pt idx="755">
                  <c:v>105.1</c:v>
                </c:pt>
                <c:pt idx="756">
                  <c:v>105.82222222222222</c:v>
                </c:pt>
                <c:pt idx="757">
                  <c:v>103.85555555555554</c:v>
                </c:pt>
                <c:pt idx="758">
                  <c:v>103.55555555555556</c:v>
                </c:pt>
                <c:pt idx="759">
                  <c:v>103.52222222222223</c:v>
                </c:pt>
                <c:pt idx="760">
                  <c:v>103.3111111111111</c:v>
                </c:pt>
                <c:pt idx="761">
                  <c:v>103.87777777777778</c:v>
                </c:pt>
                <c:pt idx="762">
                  <c:v>103.12222222222222</c:v>
                </c:pt>
                <c:pt idx="763">
                  <c:v>102.42222222222223</c:v>
                </c:pt>
                <c:pt idx="764">
                  <c:v>101.11111111111111</c:v>
                </c:pt>
                <c:pt idx="765">
                  <c:v>103.64444444444445</c:v>
                </c:pt>
                <c:pt idx="766">
                  <c:v>104.21111111111112</c:v>
                </c:pt>
                <c:pt idx="767">
                  <c:v>104.55555555555556</c:v>
                </c:pt>
                <c:pt idx="768">
                  <c:v>105.36666666666667</c:v>
                </c:pt>
                <c:pt idx="769">
                  <c:v>106.22222222222221</c:v>
                </c:pt>
                <c:pt idx="770">
                  <c:v>105.69999999999999</c:v>
                </c:pt>
                <c:pt idx="771">
                  <c:v>105.93333333333335</c:v>
                </c:pt>
                <c:pt idx="772">
                  <c:v>106.05555555555557</c:v>
                </c:pt>
                <c:pt idx="773">
                  <c:v>107.51111111111112</c:v>
                </c:pt>
                <c:pt idx="774">
                  <c:v>107.33333333333333</c:v>
                </c:pt>
                <c:pt idx="775">
                  <c:v>107.57777777777777</c:v>
                </c:pt>
                <c:pt idx="776">
                  <c:v>107.78888888888889</c:v>
                </c:pt>
                <c:pt idx="777">
                  <c:v>107.96666666666668</c:v>
                </c:pt>
                <c:pt idx="778">
                  <c:v>108.51111111111112</c:v>
                </c:pt>
                <c:pt idx="779">
                  <c:v>108.45555555555555</c:v>
                </c:pt>
                <c:pt idx="780">
                  <c:v>108.26666666666667</c:v>
                </c:pt>
                <c:pt idx="781">
                  <c:v>109.26666666666667</c:v>
                </c:pt>
                <c:pt idx="782">
                  <c:v>109.51111111111112</c:v>
                </c:pt>
                <c:pt idx="783">
                  <c:v>109.4111111111111</c:v>
                </c:pt>
                <c:pt idx="784">
                  <c:v>109.55555555555554</c:v>
                </c:pt>
                <c:pt idx="785">
                  <c:v>109.55555555555554</c:v>
                </c:pt>
                <c:pt idx="786">
                  <c:v>110.2</c:v>
                </c:pt>
                <c:pt idx="787">
                  <c:v>110.80000000000001</c:v>
                </c:pt>
                <c:pt idx="788">
                  <c:v>110.9</c:v>
                </c:pt>
                <c:pt idx="789">
                  <c:v>110.54444444444445</c:v>
                </c:pt>
                <c:pt idx="790">
                  <c:v>110.42222222222222</c:v>
                </c:pt>
                <c:pt idx="791">
                  <c:v>110.75555555555556</c:v>
                </c:pt>
                <c:pt idx="792">
                  <c:v>109.65555555555555</c:v>
                </c:pt>
                <c:pt idx="793">
                  <c:v>109.97777777777777</c:v>
                </c:pt>
                <c:pt idx="794">
                  <c:v>112.83333333333334</c:v>
                </c:pt>
                <c:pt idx="795">
                  <c:v>112.68888888888888</c:v>
                </c:pt>
                <c:pt idx="796">
                  <c:v>113.02222222222223</c:v>
                </c:pt>
                <c:pt idx="797">
                  <c:v>112.53333333333333</c:v>
                </c:pt>
                <c:pt idx="798">
                  <c:v>112.35555555555557</c:v>
                </c:pt>
                <c:pt idx="799">
                  <c:v>113.07777777777777</c:v>
                </c:pt>
                <c:pt idx="800">
                  <c:v>113.05555555555556</c:v>
                </c:pt>
                <c:pt idx="801">
                  <c:v>113.23333333333332</c:v>
                </c:pt>
                <c:pt idx="802">
                  <c:v>113.1</c:v>
                </c:pt>
                <c:pt idx="803">
                  <c:v>112.85555555555555</c:v>
                </c:pt>
                <c:pt idx="804">
                  <c:v>113.02222222222223</c:v>
                </c:pt>
                <c:pt idx="805">
                  <c:v>113.92222222222222</c:v>
                </c:pt>
                <c:pt idx="806">
                  <c:v>113.7</c:v>
                </c:pt>
                <c:pt idx="807">
                  <c:v>114.28888888888889</c:v>
                </c:pt>
                <c:pt idx="808">
                  <c:v>113.94444444444444</c:v>
                </c:pt>
                <c:pt idx="809">
                  <c:v>113.76666666666667</c:v>
                </c:pt>
                <c:pt idx="810">
                  <c:v>114.3888888888889</c:v>
                </c:pt>
                <c:pt idx="811">
                  <c:v>115.21111111111111</c:v>
                </c:pt>
                <c:pt idx="812">
                  <c:v>115.23333333333332</c:v>
                </c:pt>
                <c:pt idx="813">
                  <c:v>115.32222222222224</c:v>
                </c:pt>
                <c:pt idx="814">
                  <c:v>114.48888888888891</c:v>
                </c:pt>
                <c:pt idx="815">
                  <c:v>113.51111111111112</c:v>
                </c:pt>
                <c:pt idx="816">
                  <c:v>114.21111111111111</c:v>
                </c:pt>
                <c:pt idx="817">
                  <c:v>111.07777777777778</c:v>
                </c:pt>
                <c:pt idx="818">
                  <c:v>111.87777777777777</c:v>
                </c:pt>
                <c:pt idx="819">
                  <c:v>110.85555555555555</c:v>
                </c:pt>
                <c:pt idx="820">
                  <c:v>110.28888888888891</c:v>
                </c:pt>
                <c:pt idx="821">
                  <c:v>111.54444444444445</c:v>
                </c:pt>
                <c:pt idx="822">
                  <c:v>111.23333333333333</c:v>
                </c:pt>
                <c:pt idx="823">
                  <c:v>112.11111111111111</c:v>
                </c:pt>
                <c:pt idx="824">
                  <c:v>112.73333333333333</c:v>
                </c:pt>
                <c:pt idx="825">
                  <c:v>112.06666666666666</c:v>
                </c:pt>
                <c:pt idx="826">
                  <c:v>111.66666666666667</c:v>
                </c:pt>
                <c:pt idx="827">
                  <c:v>111.65555555555555</c:v>
                </c:pt>
                <c:pt idx="828">
                  <c:v>113.37777777777778</c:v>
                </c:pt>
                <c:pt idx="829">
                  <c:v>112.82222222222222</c:v>
                </c:pt>
                <c:pt idx="830">
                  <c:v>110.5</c:v>
                </c:pt>
                <c:pt idx="831">
                  <c:v>112.20000000000002</c:v>
                </c:pt>
                <c:pt idx="832">
                  <c:v>112.95555555555555</c:v>
                </c:pt>
                <c:pt idx="833">
                  <c:v>110.1888888888889</c:v>
                </c:pt>
                <c:pt idx="834">
                  <c:v>111.7</c:v>
                </c:pt>
                <c:pt idx="835">
                  <c:v>112.6111111111111</c:v>
                </c:pt>
                <c:pt idx="836">
                  <c:v>112.02222222222223</c:v>
                </c:pt>
                <c:pt idx="837">
                  <c:v>112.03333333333335</c:v>
                </c:pt>
                <c:pt idx="838">
                  <c:v>114.41111111111111</c:v>
                </c:pt>
                <c:pt idx="839">
                  <c:v>114.36666666666669</c:v>
                </c:pt>
                <c:pt idx="840">
                  <c:v>114.75555555555556</c:v>
                </c:pt>
                <c:pt idx="841">
                  <c:v>116.10000000000001</c:v>
                </c:pt>
                <c:pt idx="842">
                  <c:v>115.85555555555555</c:v>
                </c:pt>
                <c:pt idx="843">
                  <c:v>115.75555555555556</c:v>
                </c:pt>
                <c:pt idx="844">
                  <c:v>115.52222222222221</c:v>
                </c:pt>
                <c:pt idx="845">
                  <c:v>116.85555555555555</c:v>
                </c:pt>
                <c:pt idx="846">
                  <c:v>116.26666666666668</c:v>
                </c:pt>
                <c:pt idx="847">
                  <c:v>115.77777777777779</c:v>
                </c:pt>
                <c:pt idx="848">
                  <c:v>114.54444444444445</c:v>
                </c:pt>
                <c:pt idx="849">
                  <c:v>115.74444444444445</c:v>
                </c:pt>
                <c:pt idx="850">
                  <c:v>114.73333333333333</c:v>
                </c:pt>
                <c:pt idx="851">
                  <c:v>114.55555555555554</c:v>
                </c:pt>
                <c:pt idx="852">
                  <c:v>113.4</c:v>
                </c:pt>
                <c:pt idx="853">
                  <c:v>113.28888888888888</c:v>
                </c:pt>
                <c:pt idx="854">
                  <c:v>112.13333333333333</c:v>
                </c:pt>
                <c:pt idx="855">
                  <c:v>112.6111111111111</c:v>
                </c:pt>
                <c:pt idx="856">
                  <c:v>114.57777777777778</c:v>
                </c:pt>
                <c:pt idx="857">
                  <c:v>113.22222222222223</c:v>
                </c:pt>
                <c:pt idx="858">
                  <c:v>112.36666666666666</c:v>
                </c:pt>
                <c:pt idx="859">
                  <c:v>110.67777777777779</c:v>
                </c:pt>
                <c:pt idx="860">
                  <c:v>110.8111111111111</c:v>
                </c:pt>
                <c:pt idx="861">
                  <c:v>111.04444444444444</c:v>
                </c:pt>
                <c:pt idx="862">
                  <c:v>113.68888888888888</c:v>
                </c:pt>
                <c:pt idx="863">
                  <c:v>114.47777777777779</c:v>
                </c:pt>
                <c:pt idx="864">
                  <c:v>113.03333333333335</c:v>
                </c:pt>
                <c:pt idx="865">
                  <c:v>112.35555555555557</c:v>
                </c:pt>
                <c:pt idx="866">
                  <c:v>111.68888888888888</c:v>
                </c:pt>
                <c:pt idx="867">
                  <c:v>109.58888888888889</c:v>
                </c:pt>
                <c:pt idx="868">
                  <c:v>109.47777777777779</c:v>
                </c:pt>
                <c:pt idx="869">
                  <c:v>110.31111111111112</c:v>
                </c:pt>
                <c:pt idx="870">
                  <c:v>110.76666666666665</c:v>
                </c:pt>
                <c:pt idx="871">
                  <c:v>113.99999999999999</c:v>
                </c:pt>
                <c:pt idx="872">
                  <c:v>115.25555555555556</c:v>
                </c:pt>
                <c:pt idx="873">
                  <c:v>115.7</c:v>
                </c:pt>
                <c:pt idx="874">
                  <c:v>114.97777777777777</c:v>
                </c:pt>
                <c:pt idx="875">
                  <c:v>116.43333333333334</c:v>
                </c:pt>
                <c:pt idx="876">
                  <c:v>116.21111111111111</c:v>
                </c:pt>
                <c:pt idx="877">
                  <c:v>116.21111111111111</c:v>
                </c:pt>
                <c:pt idx="878">
                  <c:v>116.56666666666666</c:v>
                </c:pt>
                <c:pt idx="879">
                  <c:v>118.35555555555555</c:v>
                </c:pt>
                <c:pt idx="880">
                  <c:v>118.25555555555556</c:v>
                </c:pt>
                <c:pt idx="881">
                  <c:v>118.97777777777779</c:v>
                </c:pt>
                <c:pt idx="882">
                  <c:v>119.8</c:v>
                </c:pt>
                <c:pt idx="883">
                  <c:v>119.73333333333333</c:v>
                </c:pt>
                <c:pt idx="884">
                  <c:v>120.29999999999998</c:v>
                </c:pt>
                <c:pt idx="885">
                  <c:v>120.05555555555556</c:v>
                </c:pt>
                <c:pt idx="886">
                  <c:v>120.82222222222221</c:v>
                </c:pt>
                <c:pt idx="887">
                  <c:v>121.5888888888889</c:v>
                </c:pt>
                <c:pt idx="888">
                  <c:v>121.5888888888889</c:v>
                </c:pt>
                <c:pt idx="889">
                  <c:v>122.07777777777777</c:v>
                </c:pt>
                <c:pt idx="890">
                  <c:v>122.72222222222223</c:v>
                </c:pt>
                <c:pt idx="891">
                  <c:v>122.81111111111112</c:v>
                </c:pt>
                <c:pt idx="892">
                  <c:v>123.34444444444446</c:v>
                </c:pt>
                <c:pt idx="893">
                  <c:v>120.84444444444445</c:v>
                </c:pt>
                <c:pt idx="894">
                  <c:v>120.43333333333332</c:v>
                </c:pt>
                <c:pt idx="895">
                  <c:v>121.53333333333333</c:v>
                </c:pt>
                <c:pt idx="896">
                  <c:v>123.1888888888889</c:v>
                </c:pt>
                <c:pt idx="897">
                  <c:v>121.24444444444444</c:v>
                </c:pt>
                <c:pt idx="898">
                  <c:v>121.75555555555555</c:v>
                </c:pt>
                <c:pt idx="899">
                  <c:v>120.62222222222223</c:v>
                </c:pt>
                <c:pt idx="900">
                  <c:v>119.76666666666667</c:v>
                </c:pt>
                <c:pt idx="901">
                  <c:v>120.04444444444444</c:v>
                </c:pt>
                <c:pt idx="902">
                  <c:v>118.31111111111112</c:v>
                </c:pt>
                <c:pt idx="903">
                  <c:v>117.06666666666668</c:v>
                </c:pt>
                <c:pt idx="904">
                  <c:v>118.72222222222221</c:v>
                </c:pt>
                <c:pt idx="905">
                  <c:v>118.68888888888888</c:v>
                </c:pt>
                <c:pt idx="906">
                  <c:v>117.17777777777778</c:v>
                </c:pt>
                <c:pt idx="907">
                  <c:v>116.53333333333333</c:v>
                </c:pt>
                <c:pt idx="908">
                  <c:v>116.35555555555554</c:v>
                </c:pt>
                <c:pt idx="909">
                  <c:v>116.77777777777779</c:v>
                </c:pt>
                <c:pt idx="910">
                  <c:v>117.95555555555555</c:v>
                </c:pt>
                <c:pt idx="911">
                  <c:v>118.10000000000001</c:v>
                </c:pt>
                <c:pt idx="912">
                  <c:v>117.54444444444445</c:v>
                </c:pt>
                <c:pt idx="913">
                  <c:v>113.78888888888889</c:v>
                </c:pt>
                <c:pt idx="914">
                  <c:v>112.17777777777778</c:v>
                </c:pt>
                <c:pt idx="915">
                  <c:v>110.35555555555554</c:v>
                </c:pt>
                <c:pt idx="916">
                  <c:v>111.71111111111112</c:v>
                </c:pt>
                <c:pt idx="917">
                  <c:v>113.9</c:v>
                </c:pt>
                <c:pt idx="918">
                  <c:v>114.77777777777777</c:v>
                </c:pt>
                <c:pt idx="919">
                  <c:v>114.0888888888889</c:v>
                </c:pt>
                <c:pt idx="920">
                  <c:v>115.12222222222222</c:v>
                </c:pt>
                <c:pt idx="921">
                  <c:v>114.51111111111112</c:v>
                </c:pt>
                <c:pt idx="922">
                  <c:v>113.36666666666666</c:v>
                </c:pt>
                <c:pt idx="923">
                  <c:v>116.36666666666666</c:v>
                </c:pt>
                <c:pt idx="924">
                  <c:v>114.54444444444445</c:v>
                </c:pt>
                <c:pt idx="925">
                  <c:v>116.5888888888889</c:v>
                </c:pt>
                <c:pt idx="926">
                  <c:v>117.37777777777778</c:v>
                </c:pt>
                <c:pt idx="927">
                  <c:v>117.35555555555557</c:v>
                </c:pt>
                <c:pt idx="928">
                  <c:v>118.21111111111111</c:v>
                </c:pt>
                <c:pt idx="929">
                  <c:v>117.86666666666667</c:v>
                </c:pt>
                <c:pt idx="930">
                  <c:v>118.44444444444444</c:v>
                </c:pt>
                <c:pt idx="931">
                  <c:v>117.66666666666667</c:v>
                </c:pt>
                <c:pt idx="932">
                  <c:v>118.28888888888889</c:v>
                </c:pt>
                <c:pt idx="933">
                  <c:v>119.77777777777779</c:v>
                </c:pt>
                <c:pt idx="934">
                  <c:v>119.68888888888888</c:v>
                </c:pt>
                <c:pt idx="935">
                  <c:v>119.87777777777777</c:v>
                </c:pt>
                <c:pt idx="936">
                  <c:v>119.77777777777779</c:v>
                </c:pt>
                <c:pt idx="937">
                  <c:v>121.01111111111112</c:v>
                </c:pt>
                <c:pt idx="938">
                  <c:v>120.66666666666666</c:v>
                </c:pt>
                <c:pt idx="939">
                  <c:v>120.54444444444444</c:v>
                </c:pt>
                <c:pt idx="940">
                  <c:v>120.56666666666666</c:v>
                </c:pt>
                <c:pt idx="941">
                  <c:v>121.21111111111111</c:v>
                </c:pt>
                <c:pt idx="942">
                  <c:v>121.43333333333335</c:v>
                </c:pt>
                <c:pt idx="943">
                  <c:v>123.28888888888889</c:v>
                </c:pt>
                <c:pt idx="944">
                  <c:v>123.42222222222222</c:v>
                </c:pt>
                <c:pt idx="945">
                  <c:v>123.46666666666668</c:v>
                </c:pt>
                <c:pt idx="946">
                  <c:v>122.75555555555555</c:v>
                </c:pt>
                <c:pt idx="947">
                  <c:v>122.75555555555555</c:v>
                </c:pt>
                <c:pt idx="948">
                  <c:v>123.87777777777778</c:v>
                </c:pt>
                <c:pt idx="949">
                  <c:v>124.44444444444444</c:v>
                </c:pt>
                <c:pt idx="950">
                  <c:v>124.56666666666666</c:v>
                </c:pt>
                <c:pt idx="951">
                  <c:v>125.2</c:v>
                </c:pt>
                <c:pt idx="952">
                  <c:v>125.69999999999999</c:v>
                </c:pt>
                <c:pt idx="953">
                  <c:v>124.91111111111111</c:v>
                </c:pt>
                <c:pt idx="954">
                  <c:v>125.56666666666668</c:v>
                </c:pt>
                <c:pt idx="955">
                  <c:v>124.46666666666665</c:v>
                </c:pt>
                <c:pt idx="956">
                  <c:v>122.98888888888888</c:v>
                </c:pt>
                <c:pt idx="957">
                  <c:v>122.58888888888887</c:v>
                </c:pt>
                <c:pt idx="958">
                  <c:v>124.25555555555556</c:v>
                </c:pt>
                <c:pt idx="959">
                  <c:v>124.74444444444444</c:v>
                </c:pt>
                <c:pt idx="960">
                  <c:v>124.41111111111111</c:v>
                </c:pt>
                <c:pt idx="961">
                  <c:v>121.42222222222223</c:v>
                </c:pt>
                <c:pt idx="962">
                  <c:v>120.96666666666667</c:v>
                </c:pt>
                <c:pt idx="963">
                  <c:v>121.74444444444444</c:v>
                </c:pt>
                <c:pt idx="964">
                  <c:v>120.27777777777777</c:v>
                </c:pt>
                <c:pt idx="965">
                  <c:v>122.37777777777778</c:v>
                </c:pt>
                <c:pt idx="966">
                  <c:v>121.93333333333334</c:v>
                </c:pt>
                <c:pt idx="967">
                  <c:v>122.03333333333333</c:v>
                </c:pt>
                <c:pt idx="968">
                  <c:v>122.85555555555554</c:v>
                </c:pt>
                <c:pt idx="969">
                  <c:v>123.74444444444445</c:v>
                </c:pt>
                <c:pt idx="970">
                  <c:v>123.75555555555555</c:v>
                </c:pt>
                <c:pt idx="971">
                  <c:v>125.9</c:v>
                </c:pt>
                <c:pt idx="972">
                  <c:v>126.4</c:v>
                </c:pt>
                <c:pt idx="973">
                  <c:v>126.34444444444443</c:v>
                </c:pt>
                <c:pt idx="974">
                  <c:v>126.55555555555556</c:v>
                </c:pt>
                <c:pt idx="975">
                  <c:v>127.75555555555556</c:v>
                </c:pt>
                <c:pt idx="976">
                  <c:v>127.52222222222223</c:v>
                </c:pt>
                <c:pt idx="977">
                  <c:v>128.24444444444444</c:v>
                </c:pt>
                <c:pt idx="978">
                  <c:v>129.15555555555557</c:v>
                </c:pt>
                <c:pt idx="979">
                  <c:v>128.98888888888888</c:v>
                </c:pt>
                <c:pt idx="980">
                  <c:v>128.21111111111111</c:v>
                </c:pt>
                <c:pt idx="981">
                  <c:v>128.84444444444443</c:v>
                </c:pt>
                <c:pt idx="982">
                  <c:v>128.9111111111111</c:v>
                </c:pt>
                <c:pt idx="983">
                  <c:v>128.73333333333332</c:v>
                </c:pt>
                <c:pt idx="984">
                  <c:v>128.5</c:v>
                </c:pt>
                <c:pt idx="985">
                  <c:v>127.51111111111111</c:v>
                </c:pt>
                <c:pt idx="986">
                  <c:v>129.16666666666669</c:v>
                </c:pt>
                <c:pt idx="987">
                  <c:v>128.54444444444445</c:v>
                </c:pt>
                <c:pt idx="988">
                  <c:v>127.92222222222223</c:v>
                </c:pt>
                <c:pt idx="989">
                  <c:v>128.78888888888889</c:v>
                </c:pt>
                <c:pt idx="990">
                  <c:v>128.53333333333333</c:v>
                </c:pt>
                <c:pt idx="991">
                  <c:v>127.8</c:v>
                </c:pt>
                <c:pt idx="992">
                  <c:v>127.62222222222222</c:v>
                </c:pt>
                <c:pt idx="993">
                  <c:v>130.17777777777778</c:v>
                </c:pt>
                <c:pt idx="994">
                  <c:v>130.45555555555555</c:v>
                </c:pt>
                <c:pt idx="995">
                  <c:v>130.52222222222224</c:v>
                </c:pt>
                <c:pt idx="996">
                  <c:v>131.73333333333335</c:v>
                </c:pt>
                <c:pt idx="997">
                  <c:v>132.23333333333335</c:v>
                </c:pt>
                <c:pt idx="998">
                  <c:v>132.05555555555554</c:v>
                </c:pt>
                <c:pt idx="999">
                  <c:v>133.21111111111111</c:v>
                </c:pt>
                <c:pt idx="1000">
                  <c:v>133.29999999999998</c:v>
                </c:pt>
                <c:pt idx="1001">
                  <c:v>133.88888888888889</c:v>
                </c:pt>
                <c:pt idx="1002">
                  <c:v>132.73333333333332</c:v>
                </c:pt>
                <c:pt idx="1003">
                  <c:v>133.44444444444443</c:v>
                </c:pt>
                <c:pt idx="1004">
                  <c:v>133.06666666666666</c:v>
                </c:pt>
                <c:pt idx="1005">
                  <c:v>132.57777777777778</c:v>
                </c:pt>
                <c:pt idx="1006">
                  <c:v>133.63333333333333</c:v>
                </c:pt>
                <c:pt idx="1007">
                  <c:v>133.45555555555555</c:v>
                </c:pt>
                <c:pt idx="1008">
                  <c:v>134.39999999999998</c:v>
                </c:pt>
                <c:pt idx="1009">
                  <c:v>133.82222222222222</c:v>
                </c:pt>
                <c:pt idx="1010">
                  <c:v>134.34444444444443</c:v>
                </c:pt>
                <c:pt idx="1011">
                  <c:v>133.54444444444445</c:v>
                </c:pt>
                <c:pt idx="1012">
                  <c:v>134.55555555555554</c:v>
                </c:pt>
                <c:pt idx="1013">
                  <c:v>134.15555555555554</c:v>
                </c:pt>
                <c:pt idx="1014">
                  <c:v>133.91111111111113</c:v>
                </c:pt>
                <c:pt idx="1015">
                  <c:v>134.69999999999999</c:v>
                </c:pt>
                <c:pt idx="1016">
                  <c:v>133.97777777777776</c:v>
                </c:pt>
                <c:pt idx="1017">
                  <c:v>133.34444444444443</c:v>
                </c:pt>
                <c:pt idx="1018">
                  <c:v>134.51111111111112</c:v>
                </c:pt>
                <c:pt idx="1019">
                  <c:v>134.64444444444445</c:v>
                </c:pt>
                <c:pt idx="1020">
                  <c:v>135.63333333333333</c:v>
                </c:pt>
                <c:pt idx="1021">
                  <c:v>134.47777777777779</c:v>
                </c:pt>
                <c:pt idx="1022">
                  <c:v>134.3111111111111</c:v>
                </c:pt>
                <c:pt idx="1023">
                  <c:v>134.21111111111114</c:v>
                </c:pt>
                <c:pt idx="1024">
                  <c:v>134.66666666666666</c:v>
                </c:pt>
                <c:pt idx="1025">
                  <c:v>135.38888888888889</c:v>
                </c:pt>
                <c:pt idx="1026">
                  <c:v>134.96666666666667</c:v>
                </c:pt>
                <c:pt idx="1027">
                  <c:v>135.76666666666665</c:v>
                </c:pt>
                <c:pt idx="1028">
                  <c:v>136.24444444444447</c:v>
                </c:pt>
                <c:pt idx="1029">
                  <c:v>136.14444444444445</c:v>
                </c:pt>
                <c:pt idx="1030">
                  <c:v>135.6888888888889</c:v>
                </c:pt>
                <c:pt idx="1031">
                  <c:v>133</c:v>
                </c:pt>
                <c:pt idx="1032">
                  <c:v>132.15555555555557</c:v>
                </c:pt>
                <c:pt idx="1033">
                  <c:v>130.78888888888889</c:v>
                </c:pt>
                <c:pt idx="1034">
                  <c:v>131.74444444444444</c:v>
                </c:pt>
                <c:pt idx="1035">
                  <c:v>132.21111111111111</c:v>
                </c:pt>
                <c:pt idx="1036">
                  <c:v>131.27777777777777</c:v>
                </c:pt>
                <c:pt idx="1037">
                  <c:v>130.67777777777778</c:v>
                </c:pt>
                <c:pt idx="1038">
                  <c:v>129.70000000000002</c:v>
                </c:pt>
                <c:pt idx="1039">
                  <c:v>129.44444444444446</c:v>
                </c:pt>
                <c:pt idx="1040">
                  <c:v>131.54444444444445</c:v>
                </c:pt>
                <c:pt idx="1041">
                  <c:v>130.24444444444444</c:v>
                </c:pt>
                <c:pt idx="1042">
                  <c:v>131.52222222222224</c:v>
                </c:pt>
                <c:pt idx="1043">
                  <c:v>133.75555555555556</c:v>
                </c:pt>
                <c:pt idx="1044">
                  <c:v>134.52222222222221</c:v>
                </c:pt>
                <c:pt idx="1045">
                  <c:v>135.51111111111109</c:v>
                </c:pt>
                <c:pt idx="1046">
                  <c:v>135.6888888888889</c:v>
                </c:pt>
                <c:pt idx="1047">
                  <c:v>137.25555555555556</c:v>
                </c:pt>
                <c:pt idx="1048">
                  <c:v>137</c:v>
                </c:pt>
                <c:pt idx="1049">
                  <c:v>137.30000000000001</c:v>
                </c:pt>
                <c:pt idx="1050">
                  <c:v>135.62222222222223</c:v>
                </c:pt>
                <c:pt idx="1051">
                  <c:v>136.33333333333331</c:v>
                </c:pt>
                <c:pt idx="1052">
                  <c:v>136.22222222222223</c:v>
                </c:pt>
                <c:pt idx="1053">
                  <c:v>137.74444444444444</c:v>
                </c:pt>
                <c:pt idx="1054">
                  <c:v>137.96666666666667</c:v>
                </c:pt>
                <c:pt idx="1055">
                  <c:v>137.32222222222222</c:v>
                </c:pt>
                <c:pt idx="1056">
                  <c:v>137.92222222222222</c:v>
                </c:pt>
                <c:pt idx="1057">
                  <c:v>138.54444444444445</c:v>
                </c:pt>
                <c:pt idx="1058">
                  <c:v>138.73333333333332</c:v>
                </c:pt>
                <c:pt idx="1059">
                  <c:v>140.73333333333332</c:v>
                </c:pt>
                <c:pt idx="1060">
                  <c:v>140.22222222222223</c:v>
                </c:pt>
                <c:pt idx="1061">
                  <c:v>140.47777777777779</c:v>
                </c:pt>
                <c:pt idx="1062">
                  <c:v>140.32222222222225</c:v>
                </c:pt>
                <c:pt idx="1063">
                  <c:v>140.1888888888889</c:v>
                </c:pt>
                <c:pt idx="1064">
                  <c:v>140.07777777777775</c:v>
                </c:pt>
                <c:pt idx="1065">
                  <c:v>138.85555555555555</c:v>
                </c:pt>
                <c:pt idx="1066">
                  <c:v>135.21111111111111</c:v>
                </c:pt>
                <c:pt idx="1067">
                  <c:v>134.36666666666667</c:v>
                </c:pt>
                <c:pt idx="1068">
                  <c:v>135.53333333333333</c:v>
                </c:pt>
                <c:pt idx="1069">
                  <c:v>134.76666666666668</c:v>
                </c:pt>
                <c:pt idx="1070">
                  <c:v>135.17777777777778</c:v>
                </c:pt>
                <c:pt idx="1071">
                  <c:v>134.51111111111112</c:v>
                </c:pt>
                <c:pt idx="1072">
                  <c:v>132.63333333333333</c:v>
                </c:pt>
                <c:pt idx="1073">
                  <c:v>132.63333333333333</c:v>
                </c:pt>
                <c:pt idx="1074">
                  <c:v>132.75555555555556</c:v>
                </c:pt>
                <c:pt idx="1075">
                  <c:v>135.08888888888887</c:v>
                </c:pt>
                <c:pt idx="1076">
                  <c:v>136.06666666666666</c:v>
                </c:pt>
                <c:pt idx="1077">
                  <c:v>136.03333333333333</c:v>
                </c:pt>
                <c:pt idx="1078">
                  <c:v>137.9</c:v>
                </c:pt>
                <c:pt idx="1079">
                  <c:v>138.69999999999999</c:v>
                </c:pt>
                <c:pt idx="1080">
                  <c:v>138.9</c:v>
                </c:pt>
                <c:pt idx="1081">
                  <c:v>139.79999999999998</c:v>
                </c:pt>
                <c:pt idx="1082">
                  <c:v>139.98888888888888</c:v>
                </c:pt>
                <c:pt idx="1083">
                  <c:v>139.84444444444443</c:v>
                </c:pt>
                <c:pt idx="1084">
                  <c:v>139.94444444444446</c:v>
                </c:pt>
                <c:pt idx="1085">
                  <c:v>139.83333333333331</c:v>
                </c:pt>
                <c:pt idx="1086">
                  <c:v>140.36666666666667</c:v>
                </c:pt>
                <c:pt idx="1087">
                  <c:v>141.36666666666667</c:v>
                </c:pt>
                <c:pt idx="1088">
                  <c:v>141.42222222222222</c:v>
                </c:pt>
                <c:pt idx="1089">
                  <c:v>140.92222222222222</c:v>
                </c:pt>
                <c:pt idx="1090">
                  <c:v>140.48888888888888</c:v>
                </c:pt>
                <c:pt idx="1091">
                  <c:v>141.16666666666666</c:v>
                </c:pt>
                <c:pt idx="1092">
                  <c:v>137.15555555555557</c:v>
                </c:pt>
                <c:pt idx="1093">
                  <c:v>140.54444444444445</c:v>
                </c:pt>
                <c:pt idx="1094">
                  <c:v>140.67777777777778</c:v>
                </c:pt>
                <c:pt idx="1095">
                  <c:v>141.33333333333334</c:v>
                </c:pt>
                <c:pt idx="1096">
                  <c:v>139.38888888888889</c:v>
                </c:pt>
                <c:pt idx="1097">
                  <c:v>139.0888888888889</c:v>
                </c:pt>
                <c:pt idx="1098">
                  <c:v>139.11111111111111</c:v>
                </c:pt>
                <c:pt idx="1099">
                  <c:v>137.72222222222223</c:v>
                </c:pt>
                <c:pt idx="1100">
                  <c:v>135.84444444444446</c:v>
                </c:pt>
                <c:pt idx="1101">
                  <c:v>135.04444444444445</c:v>
                </c:pt>
                <c:pt idx="1102">
                  <c:v>137</c:v>
                </c:pt>
                <c:pt idx="1103">
                  <c:v>138.15555555555557</c:v>
                </c:pt>
                <c:pt idx="1104">
                  <c:v>138.15555555555557</c:v>
                </c:pt>
                <c:pt idx="1105">
                  <c:v>138.47777777777776</c:v>
                </c:pt>
                <c:pt idx="1106">
                  <c:v>138.6</c:v>
                </c:pt>
                <c:pt idx="1107">
                  <c:v>136.75555555555556</c:v>
                </c:pt>
                <c:pt idx="1108">
                  <c:v>138.55555555555557</c:v>
                </c:pt>
                <c:pt idx="1109">
                  <c:v>140.1</c:v>
                </c:pt>
                <c:pt idx="1110">
                  <c:v>140.20000000000002</c:v>
                </c:pt>
                <c:pt idx="1111">
                  <c:v>141.73333333333332</c:v>
                </c:pt>
                <c:pt idx="1112">
                  <c:v>141.73333333333332</c:v>
                </c:pt>
                <c:pt idx="1113">
                  <c:v>142.96666666666664</c:v>
                </c:pt>
                <c:pt idx="1114">
                  <c:v>142.96666666666664</c:v>
                </c:pt>
                <c:pt idx="1115">
                  <c:v>143.57777777777778</c:v>
                </c:pt>
                <c:pt idx="1116">
                  <c:v>144.54444444444445</c:v>
                </c:pt>
                <c:pt idx="1117">
                  <c:v>142.72222222222223</c:v>
                </c:pt>
                <c:pt idx="1118">
                  <c:v>141.92222222222222</c:v>
                </c:pt>
                <c:pt idx="1119">
                  <c:v>142.42222222222222</c:v>
                </c:pt>
                <c:pt idx="1120">
                  <c:v>141.36666666666667</c:v>
                </c:pt>
                <c:pt idx="1121">
                  <c:v>139.58888888888887</c:v>
                </c:pt>
                <c:pt idx="1122">
                  <c:v>139.8111111111111</c:v>
                </c:pt>
                <c:pt idx="1123">
                  <c:v>138.07777777777775</c:v>
                </c:pt>
                <c:pt idx="1124">
                  <c:v>140.36666666666667</c:v>
                </c:pt>
                <c:pt idx="1125">
                  <c:v>141.15555555555557</c:v>
                </c:pt>
                <c:pt idx="1126">
                  <c:v>143.19999999999999</c:v>
                </c:pt>
                <c:pt idx="1127">
                  <c:v>142.32222222222222</c:v>
                </c:pt>
                <c:pt idx="1128">
                  <c:v>142.77777777777777</c:v>
                </c:pt>
                <c:pt idx="1129">
                  <c:v>141.11111111111111</c:v>
                </c:pt>
                <c:pt idx="1130">
                  <c:v>141.51111111111112</c:v>
                </c:pt>
                <c:pt idx="1131">
                  <c:v>143.34444444444443</c:v>
                </c:pt>
                <c:pt idx="1132">
                  <c:v>143.16666666666666</c:v>
                </c:pt>
                <c:pt idx="1133">
                  <c:v>143.16666666666666</c:v>
                </c:pt>
                <c:pt idx="1134">
                  <c:v>142.80000000000001</c:v>
                </c:pt>
                <c:pt idx="1135">
                  <c:v>142.63333333333335</c:v>
                </c:pt>
                <c:pt idx="1136">
                  <c:v>141.86666666666667</c:v>
                </c:pt>
                <c:pt idx="1137">
                  <c:v>142.15555555555554</c:v>
                </c:pt>
                <c:pt idx="1138">
                  <c:v>144.06666666666666</c:v>
                </c:pt>
                <c:pt idx="1139">
                  <c:v>143.27777777777777</c:v>
                </c:pt>
                <c:pt idx="1140">
                  <c:v>144.58888888888887</c:v>
                </c:pt>
                <c:pt idx="1141">
                  <c:v>144.78888888888889</c:v>
                </c:pt>
                <c:pt idx="1142">
                  <c:v>144.66666666666666</c:v>
                </c:pt>
                <c:pt idx="1143">
                  <c:v>142.5</c:v>
                </c:pt>
                <c:pt idx="1144">
                  <c:v>142.72222222222223</c:v>
                </c:pt>
                <c:pt idx="1145">
                  <c:v>143.05555555555557</c:v>
                </c:pt>
                <c:pt idx="1146">
                  <c:v>143.1</c:v>
                </c:pt>
                <c:pt idx="1147">
                  <c:v>143.94444444444446</c:v>
                </c:pt>
                <c:pt idx="1148">
                  <c:v>144.17777777777775</c:v>
                </c:pt>
                <c:pt idx="1149">
                  <c:v>144.94444444444443</c:v>
                </c:pt>
                <c:pt idx="1150">
                  <c:v>146.67777777777778</c:v>
                </c:pt>
                <c:pt idx="1151">
                  <c:v>146.95555555555555</c:v>
                </c:pt>
                <c:pt idx="1152">
                  <c:v>147.16666666666666</c:v>
                </c:pt>
                <c:pt idx="1153">
                  <c:v>147.14444444444445</c:v>
                </c:pt>
                <c:pt idx="1154">
                  <c:v>147.29999999999998</c:v>
                </c:pt>
                <c:pt idx="1155">
                  <c:v>147.64444444444445</c:v>
                </c:pt>
                <c:pt idx="1156">
                  <c:v>147.07777777777778</c:v>
                </c:pt>
                <c:pt idx="1157">
                  <c:v>147.0888888888889</c:v>
                </c:pt>
                <c:pt idx="1158">
                  <c:v>148.3111111111111</c:v>
                </c:pt>
                <c:pt idx="1159">
                  <c:v>149.61111111111111</c:v>
                </c:pt>
                <c:pt idx="1160">
                  <c:v>150.14444444444445</c:v>
                </c:pt>
                <c:pt idx="1161">
                  <c:v>150.45555555555555</c:v>
                </c:pt>
                <c:pt idx="1162">
                  <c:v>149.23333333333332</c:v>
                </c:pt>
                <c:pt idx="1163">
                  <c:v>149.19999999999999</c:v>
                </c:pt>
                <c:pt idx="1164">
                  <c:v>148.82222222222222</c:v>
                </c:pt>
                <c:pt idx="1165">
                  <c:v>148</c:v>
                </c:pt>
                <c:pt idx="1166">
                  <c:v>148.70000000000002</c:v>
                </c:pt>
                <c:pt idx="1167">
                  <c:v>148.79999999999998</c:v>
                </c:pt>
                <c:pt idx="1168">
                  <c:v>149.85555555555555</c:v>
                </c:pt>
                <c:pt idx="1169">
                  <c:v>149.32222222222219</c:v>
                </c:pt>
                <c:pt idx="1170">
                  <c:v>148.4</c:v>
                </c:pt>
                <c:pt idx="1171">
                  <c:v>148.22222222222223</c:v>
                </c:pt>
                <c:pt idx="1172">
                  <c:v>146.75555555555556</c:v>
                </c:pt>
                <c:pt idx="1173">
                  <c:v>146.27777777777777</c:v>
                </c:pt>
                <c:pt idx="1174">
                  <c:v>146.17777777777778</c:v>
                </c:pt>
                <c:pt idx="1175">
                  <c:v>146.04444444444445</c:v>
                </c:pt>
                <c:pt idx="1176">
                  <c:v>147.29999999999998</c:v>
                </c:pt>
                <c:pt idx="1177">
                  <c:v>147.31111111111113</c:v>
                </c:pt>
                <c:pt idx="1178">
                  <c:v>148.89999999999998</c:v>
                </c:pt>
                <c:pt idx="1179">
                  <c:v>148.05555555555557</c:v>
                </c:pt>
                <c:pt idx="1180">
                  <c:v>146.35555555555555</c:v>
                </c:pt>
                <c:pt idx="1181">
                  <c:v>144.05555555555557</c:v>
                </c:pt>
                <c:pt idx="1182">
                  <c:v>144.54444444444445</c:v>
                </c:pt>
                <c:pt idx="1183">
                  <c:v>142.38888888888889</c:v>
                </c:pt>
                <c:pt idx="1184">
                  <c:v>142.65555555555554</c:v>
                </c:pt>
                <c:pt idx="1185">
                  <c:v>143.94444444444446</c:v>
                </c:pt>
                <c:pt idx="1186">
                  <c:v>142.67777777777778</c:v>
                </c:pt>
                <c:pt idx="1187">
                  <c:v>144.92222222222222</c:v>
                </c:pt>
                <c:pt idx="1188">
                  <c:v>143.23333333333332</c:v>
                </c:pt>
                <c:pt idx="1189">
                  <c:v>143.32222222222225</c:v>
                </c:pt>
                <c:pt idx="1190">
                  <c:v>142.26666666666665</c:v>
                </c:pt>
                <c:pt idx="1191">
                  <c:v>144.1888888888889</c:v>
                </c:pt>
                <c:pt idx="1192">
                  <c:v>144.47777777777776</c:v>
                </c:pt>
                <c:pt idx="1193">
                  <c:v>145.77777777777777</c:v>
                </c:pt>
                <c:pt idx="1194">
                  <c:v>144.02222222222224</c:v>
                </c:pt>
                <c:pt idx="1195">
                  <c:v>143.74444444444444</c:v>
                </c:pt>
                <c:pt idx="1196">
                  <c:v>144.41111111111113</c:v>
                </c:pt>
                <c:pt idx="1197">
                  <c:v>143.52222222222221</c:v>
                </c:pt>
                <c:pt idx="1198">
                  <c:v>141.12222222222223</c:v>
                </c:pt>
                <c:pt idx="1199">
                  <c:v>139.05555555555554</c:v>
                </c:pt>
                <c:pt idx="1200">
                  <c:v>138.88888888888889</c:v>
                </c:pt>
                <c:pt idx="1201">
                  <c:v>138.78888888888889</c:v>
                </c:pt>
                <c:pt idx="1202">
                  <c:v>137.55555555555554</c:v>
                </c:pt>
                <c:pt idx="1203">
                  <c:v>136.04444444444442</c:v>
                </c:pt>
                <c:pt idx="1204">
                  <c:v>135.64444444444445</c:v>
                </c:pt>
                <c:pt idx="1205">
                  <c:v>137.63333333333335</c:v>
                </c:pt>
                <c:pt idx="1206">
                  <c:v>136.84444444444443</c:v>
                </c:pt>
                <c:pt idx="1207">
                  <c:v>138</c:v>
                </c:pt>
                <c:pt idx="1208">
                  <c:v>138.25555555555556</c:v>
                </c:pt>
                <c:pt idx="1209">
                  <c:v>137.30000000000001</c:v>
                </c:pt>
                <c:pt idx="1210">
                  <c:v>139.05555555555554</c:v>
                </c:pt>
                <c:pt idx="1211">
                  <c:v>139.94444444444446</c:v>
                </c:pt>
                <c:pt idx="1212">
                  <c:v>139.76666666666668</c:v>
                </c:pt>
                <c:pt idx="1213">
                  <c:v>141.36666666666667</c:v>
                </c:pt>
                <c:pt idx="1214">
                  <c:v>140.52222222222221</c:v>
                </c:pt>
                <c:pt idx="1215">
                  <c:v>142.98888888888888</c:v>
                </c:pt>
                <c:pt idx="1216">
                  <c:v>144.35555555555555</c:v>
                </c:pt>
                <c:pt idx="1217">
                  <c:v>144.46666666666667</c:v>
                </c:pt>
                <c:pt idx="1218">
                  <c:v>143.08888888888887</c:v>
                </c:pt>
                <c:pt idx="1219">
                  <c:v>143.4111111111111</c:v>
                </c:pt>
                <c:pt idx="1220">
                  <c:v>143.4111111111111</c:v>
                </c:pt>
                <c:pt idx="1221">
                  <c:v>143.66666666666669</c:v>
                </c:pt>
                <c:pt idx="1222">
                  <c:v>145.24444444444444</c:v>
                </c:pt>
                <c:pt idx="1223">
                  <c:v>147.46666666666667</c:v>
                </c:pt>
                <c:pt idx="1224">
                  <c:v>147.5</c:v>
                </c:pt>
                <c:pt idx="1225">
                  <c:v>147.22222222222223</c:v>
                </c:pt>
                <c:pt idx="1226">
                  <c:v>146.32222222222222</c:v>
                </c:pt>
                <c:pt idx="1227">
                  <c:v>146.13333333333333</c:v>
                </c:pt>
                <c:pt idx="1228">
                  <c:v>145.85555555555555</c:v>
                </c:pt>
                <c:pt idx="1229">
                  <c:v>145.71111111111111</c:v>
                </c:pt>
                <c:pt idx="1230">
                  <c:v>145.42222222222222</c:v>
                </c:pt>
                <c:pt idx="1231">
                  <c:v>144.81111111111113</c:v>
                </c:pt>
                <c:pt idx="1232">
                  <c:v>145.6</c:v>
                </c:pt>
                <c:pt idx="1233">
                  <c:v>146.87777777777777</c:v>
                </c:pt>
                <c:pt idx="1234">
                  <c:v>146.96666666666667</c:v>
                </c:pt>
                <c:pt idx="1235">
                  <c:v>146.20000000000002</c:v>
                </c:pt>
                <c:pt idx="1236">
                  <c:v>144.03333333333333</c:v>
                </c:pt>
                <c:pt idx="1237">
                  <c:v>145.24444444444444</c:v>
                </c:pt>
                <c:pt idx="1238">
                  <c:v>143.61111111111111</c:v>
                </c:pt>
                <c:pt idx="1239">
                  <c:v>144.33333333333334</c:v>
                </c:pt>
                <c:pt idx="1240">
                  <c:v>143.1888888888889</c:v>
                </c:pt>
                <c:pt idx="1241">
                  <c:v>144.62222222222221</c:v>
                </c:pt>
                <c:pt idx="1242">
                  <c:v>143.25555555555556</c:v>
                </c:pt>
                <c:pt idx="1243">
                  <c:v>139.61111111111111</c:v>
                </c:pt>
                <c:pt idx="1244">
                  <c:v>140.75555555555556</c:v>
                </c:pt>
                <c:pt idx="1245">
                  <c:v>141.11111111111111</c:v>
                </c:pt>
              </c:numCache>
            </c:numRef>
          </c:val>
          <c:smooth val="0"/>
        </c:ser>
        <c:ser>
          <c:idx val="2"/>
          <c:order val="2"/>
          <c:tx>
            <c:strRef>
              <c:f>Sheet1!$D$1</c:f>
              <c:strCache>
                <c:ptCount val="1"/>
              </c:strCache>
            </c:strRef>
          </c:tx>
          <c:spPr>
            <a:ln w="12700">
              <a:solidFill>
                <a:srgbClr val="665C8C"/>
              </a:solidFill>
            </a:ln>
          </c:spPr>
          <c:marker>
            <c:symbol val="none"/>
          </c:marker>
          <c:cat>
            <c:numRef>
              <c:f>Sheet1!$A$2:$A$1247</c:f>
              <c:numCache>
                <c:formatCode>m/d/yyyy</c:formatCode>
                <c:ptCount val="1246"/>
                <c:pt idx="0">
                  <c:v>40148</c:v>
                </c:pt>
                <c:pt idx="1">
                  <c:v>40149</c:v>
                </c:pt>
                <c:pt idx="2">
                  <c:v>40150</c:v>
                </c:pt>
                <c:pt idx="3">
                  <c:v>40151</c:v>
                </c:pt>
                <c:pt idx="4">
                  <c:v>40154</c:v>
                </c:pt>
                <c:pt idx="5">
                  <c:v>40155</c:v>
                </c:pt>
                <c:pt idx="6">
                  <c:v>40156</c:v>
                </c:pt>
                <c:pt idx="7">
                  <c:v>40157</c:v>
                </c:pt>
                <c:pt idx="8">
                  <c:v>40158</c:v>
                </c:pt>
                <c:pt idx="9">
                  <c:v>40161</c:v>
                </c:pt>
                <c:pt idx="10">
                  <c:v>40162</c:v>
                </c:pt>
                <c:pt idx="11">
                  <c:v>40163</c:v>
                </c:pt>
                <c:pt idx="12">
                  <c:v>40164</c:v>
                </c:pt>
                <c:pt idx="13">
                  <c:v>40165</c:v>
                </c:pt>
                <c:pt idx="14">
                  <c:v>40168</c:v>
                </c:pt>
                <c:pt idx="15">
                  <c:v>40169</c:v>
                </c:pt>
                <c:pt idx="16">
                  <c:v>40170</c:v>
                </c:pt>
                <c:pt idx="17">
                  <c:v>40171</c:v>
                </c:pt>
                <c:pt idx="18">
                  <c:v>40175</c:v>
                </c:pt>
                <c:pt idx="19">
                  <c:v>40176</c:v>
                </c:pt>
                <c:pt idx="20">
                  <c:v>40177</c:v>
                </c:pt>
                <c:pt idx="21">
                  <c:v>40178</c:v>
                </c:pt>
                <c:pt idx="22">
                  <c:v>40182</c:v>
                </c:pt>
                <c:pt idx="23">
                  <c:v>40183</c:v>
                </c:pt>
                <c:pt idx="24">
                  <c:v>40184</c:v>
                </c:pt>
                <c:pt idx="25">
                  <c:v>40185</c:v>
                </c:pt>
                <c:pt idx="26">
                  <c:v>40186</c:v>
                </c:pt>
                <c:pt idx="27">
                  <c:v>40189</c:v>
                </c:pt>
                <c:pt idx="28">
                  <c:v>40190</c:v>
                </c:pt>
                <c:pt idx="29">
                  <c:v>40191</c:v>
                </c:pt>
                <c:pt idx="30">
                  <c:v>40192</c:v>
                </c:pt>
                <c:pt idx="31">
                  <c:v>40193</c:v>
                </c:pt>
                <c:pt idx="32">
                  <c:v>40196</c:v>
                </c:pt>
                <c:pt idx="33">
                  <c:v>40197</c:v>
                </c:pt>
                <c:pt idx="34">
                  <c:v>40198</c:v>
                </c:pt>
                <c:pt idx="35">
                  <c:v>40199</c:v>
                </c:pt>
                <c:pt idx="36">
                  <c:v>40200</c:v>
                </c:pt>
                <c:pt idx="37">
                  <c:v>40203</c:v>
                </c:pt>
                <c:pt idx="38">
                  <c:v>40204</c:v>
                </c:pt>
                <c:pt idx="39">
                  <c:v>40205</c:v>
                </c:pt>
                <c:pt idx="40">
                  <c:v>40206</c:v>
                </c:pt>
                <c:pt idx="41">
                  <c:v>40207</c:v>
                </c:pt>
                <c:pt idx="42">
                  <c:v>40210</c:v>
                </c:pt>
                <c:pt idx="43">
                  <c:v>40211</c:v>
                </c:pt>
                <c:pt idx="44">
                  <c:v>40212</c:v>
                </c:pt>
                <c:pt idx="45">
                  <c:v>40213</c:v>
                </c:pt>
                <c:pt idx="46">
                  <c:v>40214</c:v>
                </c:pt>
                <c:pt idx="47">
                  <c:v>40217</c:v>
                </c:pt>
                <c:pt idx="48">
                  <c:v>40218</c:v>
                </c:pt>
                <c:pt idx="49">
                  <c:v>40219</c:v>
                </c:pt>
                <c:pt idx="50">
                  <c:v>40220</c:v>
                </c:pt>
                <c:pt idx="51">
                  <c:v>40221</c:v>
                </c:pt>
                <c:pt idx="52">
                  <c:v>40224</c:v>
                </c:pt>
                <c:pt idx="53">
                  <c:v>40225</c:v>
                </c:pt>
                <c:pt idx="54">
                  <c:v>40226</c:v>
                </c:pt>
                <c:pt idx="55">
                  <c:v>40227</c:v>
                </c:pt>
                <c:pt idx="56">
                  <c:v>40228</c:v>
                </c:pt>
                <c:pt idx="57">
                  <c:v>40231</c:v>
                </c:pt>
                <c:pt idx="58">
                  <c:v>40232</c:v>
                </c:pt>
                <c:pt idx="59">
                  <c:v>40233</c:v>
                </c:pt>
                <c:pt idx="60">
                  <c:v>40234</c:v>
                </c:pt>
                <c:pt idx="61">
                  <c:v>40235</c:v>
                </c:pt>
                <c:pt idx="62">
                  <c:v>40238</c:v>
                </c:pt>
                <c:pt idx="63">
                  <c:v>40239</c:v>
                </c:pt>
                <c:pt idx="64">
                  <c:v>40240</c:v>
                </c:pt>
                <c:pt idx="65">
                  <c:v>40241</c:v>
                </c:pt>
                <c:pt idx="66">
                  <c:v>40242</c:v>
                </c:pt>
                <c:pt idx="67">
                  <c:v>40245</c:v>
                </c:pt>
                <c:pt idx="68">
                  <c:v>40246</c:v>
                </c:pt>
                <c:pt idx="69">
                  <c:v>40247</c:v>
                </c:pt>
                <c:pt idx="70">
                  <c:v>40248</c:v>
                </c:pt>
                <c:pt idx="71">
                  <c:v>40249</c:v>
                </c:pt>
                <c:pt idx="72">
                  <c:v>40252</c:v>
                </c:pt>
                <c:pt idx="73">
                  <c:v>40253</c:v>
                </c:pt>
                <c:pt idx="74">
                  <c:v>40254</c:v>
                </c:pt>
                <c:pt idx="75">
                  <c:v>40255</c:v>
                </c:pt>
                <c:pt idx="76">
                  <c:v>40256</c:v>
                </c:pt>
                <c:pt idx="77">
                  <c:v>40259</c:v>
                </c:pt>
                <c:pt idx="78">
                  <c:v>40260</c:v>
                </c:pt>
                <c:pt idx="79">
                  <c:v>40261</c:v>
                </c:pt>
                <c:pt idx="80">
                  <c:v>40262</c:v>
                </c:pt>
                <c:pt idx="81">
                  <c:v>40263</c:v>
                </c:pt>
                <c:pt idx="82">
                  <c:v>40266</c:v>
                </c:pt>
                <c:pt idx="83">
                  <c:v>40267</c:v>
                </c:pt>
                <c:pt idx="84">
                  <c:v>40268</c:v>
                </c:pt>
                <c:pt idx="85">
                  <c:v>40269</c:v>
                </c:pt>
                <c:pt idx="86">
                  <c:v>40274</c:v>
                </c:pt>
                <c:pt idx="87">
                  <c:v>40275</c:v>
                </c:pt>
                <c:pt idx="88">
                  <c:v>40276</c:v>
                </c:pt>
                <c:pt idx="89">
                  <c:v>40277</c:v>
                </c:pt>
                <c:pt idx="90">
                  <c:v>40280</c:v>
                </c:pt>
                <c:pt idx="91">
                  <c:v>40281</c:v>
                </c:pt>
                <c:pt idx="92">
                  <c:v>40282</c:v>
                </c:pt>
                <c:pt idx="93">
                  <c:v>40283</c:v>
                </c:pt>
                <c:pt idx="94">
                  <c:v>40284</c:v>
                </c:pt>
                <c:pt idx="95">
                  <c:v>40287</c:v>
                </c:pt>
                <c:pt idx="96">
                  <c:v>40288</c:v>
                </c:pt>
                <c:pt idx="97">
                  <c:v>40289</c:v>
                </c:pt>
                <c:pt idx="98">
                  <c:v>40290</c:v>
                </c:pt>
                <c:pt idx="99">
                  <c:v>40291</c:v>
                </c:pt>
                <c:pt idx="100">
                  <c:v>40294</c:v>
                </c:pt>
                <c:pt idx="101">
                  <c:v>40295</c:v>
                </c:pt>
                <c:pt idx="102">
                  <c:v>40296</c:v>
                </c:pt>
                <c:pt idx="103">
                  <c:v>40297</c:v>
                </c:pt>
                <c:pt idx="104">
                  <c:v>40298</c:v>
                </c:pt>
                <c:pt idx="105">
                  <c:v>40301</c:v>
                </c:pt>
                <c:pt idx="106">
                  <c:v>40302</c:v>
                </c:pt>
                <c:pt idx="107">
                  <c:v>40303</c:v>
                </c:pt>
                <c:pt idx="108">
                  <c:v>40304</c:v>
                </c:pt>
                <c:pt idx="109">
                  <c:v>40305</c:v>
                </c:pt>
                <c:pt idx="110">
                  <c:v>40308</c:v>
                </c:pt>
                <c:pt idx="111">
                  <c:v>40309</c:v>
                </c:pt>
                <c:pt idx="112">
                  <c:v>40310</c:v>
                </c:pt>
                <c:pt idx="113">
                  <c:v>40311</c:v>
                </c:pt>
                <c:pt idx="114">
                  <c:v>40312</c:v>
                </c:pt>
                <c:pt idx="115">
                  <c:v>40315</c:v>
                </c:pt>
                <c:pt idx="116">
                  <c:v>40316</c:v>
                </c:pt>
                <c:pt idx="117">
                  <c:v>40317</c:v>
                </c:pt>
                <c:pt idx="118">
                  <c:v>40318</c:v>
                </c:pt>
                <c:pt idx="119">
                  <c:v>40319</c:v>
                </c:pt>
                <c:pt idx="120">
                  <c:v>40322</c:v>
                </c:pt>
                <c:pt idx="121">
                  <c:v>40323</c:v>
                </c:pt>
                <c:pt idx="122">
                  <c:v>40324</c:v>
                </c:pt>
                <c:pt idx="123">
                  <c:v>40325</c:v>
                </c:pt>
                <c:pt idx="124">
                  <c:v>40326</c:v>
                </c:pt>
                <c:pt idx="125">
                  <c:v>40329</c:v>
                </c:pt>
                <c:pt idx="126">
                  <c:v>40330</c:v>
                </c:pt>
                <c:pt idx="127">
                  <c:v>40331</c:v>
                </c:pt>
                <c:pt idx="128">
                  <c:v>40332</c:v>
                </c:pt>
                <c:pt idx="129">
                  <c:v>40333</c:v>
                </c:pt>
                <c:pt idx="130">
                  <c:v>40336</c:v>
                </c:pt>
                <c:pt idx="131">
                  <c:v>40337</c:v>
                </c:pt>
                <c:pt idx="132">
                  <c:v>40338</c:v>
                </c:pt>
                <c:pt idx="133">
                  <c:v>40339</c:v>
                </c:pt>
                <c:pt idx="134">
                  <c:v>40340</c:v>
                </c:pt>
                <c:pt idx="135">
                  <c:v>40343</c:v>
                </c:pt>
                <c:pt idx="136">
                  <c:v>40344</c:v>
                </c:pt>
                <c:pt idx="137">
                  <c:v>40345</c:v>
                </c:pt>
                <c:pt idx="138">
                  <c:v>40346</c:v>
                </c:pt>
                <c:pt idx="139">
                  <c:v>40347</c:v>
                </c:pt>
                <c:pt idx="140">
                  <c:v>40350</c:v>
                </c:pt>
                <c:pt idx="141">
                  <c:v>40351</c:v>
                </c:pt>
                <c:pt idx="142">
                  <c:v>40352</c:v>
                </c:pt>
                <c:pt idx="143">
                  <c:v>40353</c:v>
                </c:pt>
                <c:pt idx="144">
                  <c:v>40354</c:v>
                </c:pt>
                <c:pt idx="145">
                  <c:v>40357</c:v>
                </c:pt>
                <c:pt idx="146">
                  <c:v>40358</c:v>
                </c:pt>
                <c:pt idx="147">
                  <c:v>40359</c:v>
                </c:pt>
                <c:pt idx="148">
                  <c:v>40360</c:v>
                </c:pt>
                <c:pt idx="149">
                  <c:v>40361</c:v>
                </c:pt>
                <c:pt idx="150">
                  <c:v>40364</c:v>
                </c:pt>
                <c:pt idx="151">
                  <c:v>40365</c:v>
                </c:pt>
                <c:pt idx="152">
                  <c:v>40366</c:v>
                </c:pt>
                <c:pt idx="153">
                  <c:v>40367</c:v>
                </c:pt>
                <c:pt idx="154">
                  <c:v>40368</c:v>
                </c:pt>
                <c:pt idx="155">
                  <c:v>40371</c:v>
                </c:pt>
                <c:pt idx="156">
                  <c:v>40372</c:v>
                </c:pt>
                <c:pt idx="157">
                  <c:v>40373</c:v>
                </c:pt>
                <c:pt idx="158">
                  <c:v>40374</c:v>
                </c:pt>
                <c:pt idx="159">
                  <c:v>40375</c:v>
                </c:pt>
                <c:pt idx="160">
                  <c:v>40378</c:v>
                </c:pt>
                <c:pt idx="161">
                  <c:v>40379</c:v>
                </c:pt>
                <c:pt idx="162">
                  <c:v>40380</c:v>
                </c:pt>
                <c:pt idx="163">
                  <c:v>40381</c:v>
                </c:pt>
                <c:pt idx="164">
                  <c:v>40382</c:v>
                </c:pt>
                <c:pt idx="165">
                  <c:v>40385</c:v>
                </c:pt>
                <c:pt idx="166">
                  <c:v>40386</c:v>
                </c:pt>
                <c:pt idx="167">
                  <c:v>40387</c:v>
                </c:pt>
                <c:pt idx="168">
                  <c:v>40388</c:v>
                </c:pt>
                <c:pt idx="169">
                  <c:v>40389</c:v>
                </c:pt>
                <c:pt idx="170">
                  <c:v>40392</c:v>
                </c:pt>
                <c:pt idx="171">
                  <c:v>40393</c:v>
                </c:pt>
                <c:pt idx="172">
                  <c:v>40394</c:v>
                </c:pt>
                <c:pt idx="173">
                  <c:v>40395</c:v>
                </c:pt>
                <c:pt idx="174">
                  <c:v>40396</c:v>
                </c:pt>
                <c:pt idx="175">
                  <c:v>40399</c:v>
                </c:pt>
                <c:pt idx="176">
                  <c:v>40400</c:v>
                </c:pt>
                <c:pt idx="177">
                  <c:v>40401</c:v>
                </c:pt>
                <c:pt idx="178">
                  <c:v>40402</c:v>
                </c:pt>
                <c:pt idx="179">
                  <c:v>40403</c:v>
                </c:pt>
                <c:pt idx="180">
                  <c:v>40406</c:v>
                </c:pt>
                <c:pt idx="181">
                  <c:v>40407</c:v>
                </c:pt>
                <c:pt idx="182">
                  <c:v>40408</c:v>
                </c:pt>
                <c:pt idx="183">
                  <c:v>40409</c:v>
                </c:pt>
                <c:pt idx="184">
                  <c:v>40410</c:v>
                </c:pt>
                <c:pt idx="185">
                  <c:v>40413</c:v>
                </c:pt>
                <c:pt idx="186">
                  <c:v>40414</c:v>
                </c:pt>
                <c:pt idx="187">
                  <c:v>40415</c:v>
                </c:pt>
                <c:pt idx="188">
                  <c:v>40416</c:v>
                </c:pt>
                <c:pt idx="189">
                  <c:v>40417</c:v>
                </c:pt>
                <c:pt idx="190">
                  <c:v>40420</c:v>
                </c:pt>
                <c:pt idx="191">
                  <c:v>40421</c:v>
                </c:pt>
                <c:pt idx="192">
                  <c:v>40422</c:v>
                </c:pt>
                <c:pt idx="193">
                  <c:v>40423</c:v>
                </c:pt>
                <c:pt idx="194">
                  <c:v>40424</c:v>
                </c:pt>
                <c:pt idx="195">
                  <c:v>40427</c:v>
                </c:pt>
                <c:pt idx="196">
                  <c:v>40428</c:v>
                </c:pt>
                <c:pt idx="197">
                  <c:v>40429</c:v>
                </c:pt>
                <c:pt idx="198">
                  <c:v>40430</c:v>
                </c:pt>
                <c:pt idx="199">
                  <c:v>40431</c:v>
                </c:pt>
                <c:pt idx="200">
                  <c:v>40434</c:v>
                </c:pt>
                <c:pt idx="201">
                  <c:v>40435</c:v>
                </c:pt>
                <c:pt idx="202">
                  <c:v>40436</c:v>
                </c:pt>
                <c:pt idx="203">
                  <c:v>40437</c:v>
                </c:pt>
                <c:pt idx="204">
                  <c:v>40438</c:v>
                </c:pt>
                <c:pt idx="205">
                  <c:v>40441</c:v>
                </c:pt>
                <c:pt idx="206">
                  <c:v>40442</c:v>
                </c:pt>
                <c:pt idx="207">
                  <c:v>40443</c:v>
                </c:pt>
                <c:pt idx="208">
                  <c:v>40444</c:v>
                </c:pt>
                <c:pt idx="209">
                  <c:v>40445</c:v>
                </c:pt>
                <c:pt idx="210">
                  <c:v>40448</c:v>
                </c:pt>
                <c:pt idx="211">
                  <c:v>40449</c:v>
                </c:pt>
                <c:pt idx="212">
                  <c:v>40450</c:v>
                </c:pt>
                <c:pt idx="213">
                  <c:v>40451</c:v>
                </c:pt>
                <c:pt idx="214">
                  <c:v>40452</c:v>
                </c:pt>
                <c:pt idx="215">
                  <c:v>40455</c:v>
                </c:pt>
                <c:pt idx="216">
                  <c:v>40456</c:v>
                </c:pt>
                <c:pt idx="217">
                  <c:v>40457</c:v>
                </c:pt>
                <c:pt idx="218">
                  <c:v>40458</c:v>
                </c:pt>
                <c:pt idx="219">
                  <c:v>40459</c:v>
                </c:pt>
                <c:pt idx="220">
                  <c:v>40462</c:v>
                </c:pt>
                <c:pt idx="221">
                  <c:v>40463</c:v>
                </c:pt>
                <c:pt idx="222">
                  <c:v>40464</c:v>
                </c:pt>
                <c:pt idx="223">
                  <c:v>40465</c:v>
                </c:pt>
                <c:pt idx="224">
                  <c:v>40466</c:v>
                </c:pt>
                <c:pt idx="225">
                  <c:v>40469</c:v>
                </c:pt>
                <c:pt idx="226">
                  <c:v>40470</c:v>
                </c:pt>
                <c:pt idx="227">
                  <c:v>40471</c:v>
                </c:pt>
                <c:pt idx="228">
                  <c:v>40472</c:v>
                </c:pt>
                <c:pt idx="229">
                  <c:v>40473</c:v>
                </c:pt>
                <c:pt idx="230">
                  <c:v>40476</c:v>
                </c:pt>
                <c:pt idx="231">
                  <c:v>40477</c:v>
                </c:pt>
                <c:pt idx="232">
                  <c:v>40478</c:v>
                </c:pt>
                <c:pt idx="233">
                  <c:v>40479</c:v>
                </c:pt>
                <c:pt idx="234">
                  <c:v>40480</c:v>
                </c:pt>
                <c:pt idx="235">
                  <c:v>40483</c:v>
                </c:pt>
                <c:pt idx="236">
                  <c:v>40484</c:v>
                </c:pt>
                <c:pt idx="237">
                  <c:v>40485</c:v>
                </c:pt>
                <c:pt idx="238">
                  <c:v>40486</c:v>
                </c:pt>
                <c:pt idx="239">
                  <c:v>40487</c:v>
                </c:pt>
                <c:pt idx="240">
                  <c:v>40490</c:v>
                </c:pt>
                <c:pt idx="241">
                  <c:v>40491</c:v>
                </c:pt>
                <c:pt idx="242">
                  <c:v>40492</c:v>
                </c:pt>
                <c:pt idx="243">
                  <c:v>40493</c:v>
                </c:pt>
                <c:pt idx="244">
                  <c:v>40494</c:v>
                </c:pt>
                <c:pt idx="245">
                  <c:v>40497</c:v>
                </c:pt>
                <c:pt idx="246">
                  <c:v>40498</c:v>
                </c:pt>
                <c:pt idx="247">
                  <c:v>40499</c:v>
                </c:pt>
                <c:pt idx="248">
                  <c:v>40500</c:v>
                </c:pt>
                <c:pt idx="249">
                  <c:v>40501</c:v>
                </c:pt>
                <c:pt idx="250">
                  <c:v>40504</c:v>
                </c:pt>
                <c:pt idx="251">
                  <c:v>40505</c:v>
                </c:pt>
                <c:pt idx="252">
                  <c:v>40506</c:v>
                </c:pt>
                <c:pt idx="253">
                  <c:v>40507</c:v>
                </c:pt>
                <c:pt idx="254">
                  <c:v>40508</c:v>
                </c:pt>
                <c:pt idx="255">
                  <c:v>40511</c:v>
                </c:pt>
                <c:pt idx="256">
                  <c:v>40512</c:v>
                </c:pt>
                <c:pt idx="257">
                  <c:v>40513</c:v>
                </c:pt>
                <c:pt idx="258">
                  <c:v>40514</c:v>
                </c:pt>
                <c:pt idx="259">
                  <c:v>40515</c:v>
                </c:pt>
                <c:pt idx="260">
                  <c:v>40518</c:v>
                </c:pt>
                <c:pt idx="261">
                  <c:v>40519</c:v>
                </c:pt>
                <c:pt idx="262">
                  <c:v>40520</c:v>
                </c:pt>
                <c:pt idx="263">
                  <c:v>40521</c:v>
                </c:pt>
                <c:pt idx="264">
                  <c:v>40522</c:v>
                </c:pt>
                <c:pt idx="265">
                  <c:v>40525</c:v>
                </c:pt>
                <c:pt idx="266">
                  <c:v>40526</c:v>
                </c:pt>
                <c:pt idx="267">
                  <c:v>40527</c:v>
                </c:pt>
                <c:pt idx="268">
                  <c:v>40528</c:v>
                </c:pt>
                <c:pt idx="269">
                  <c:v>40529</c:v>
                </c:pt>
                <c:pt idx="270">
                  <c:v>40532</c:v>
                </c:pt>
                <c:pt idx="271">
                  <c:v>40533</c:v>
                </c:pt>
                <c:pt idx="272">
                  <c:v>40534</c:v>
                </c:pt>
                <c:pt idx="273">
                  <c:v>40535</c:v>
                </c:pt>
                <c:pt idx="274">
                  <c:v>40536</c:v>
                </c:pt>
                <c:pt idx="275">
                  <c:v>40539</c:v>
                </c:pt>
                <c:pt idx="276">
                  <c:v>40540</c:v>
                </c:pt>
                <c:pt idx="277">
                  <c:v>40541</c:v>
                </c:pt>
                <c:pt idx="278">
                  <c:v>40542</c:v>
                </c:pt>
                <c:pt idx="279">
                  <c:v>40543</c:v>
                </c:pt>
                <c:pt idx="280">
                  <c:v>40546</c:v>
                </c:pt>
                <c:pt idx="281">
                  <c:v>40547</c:v>
                </c:pt>
                <c:pt idx="282">
                  <c:v>40548</c:v>
                </c:pt>
                <c:pt idx="283">
                  <c:v>40549</c:v>
                </c:pt>
                <c:pt idx="284">
                  <c:v>40550</c:v>
                </c:pt>
                <c:pt idx="285">
                  <c:v>40553</c:v>
                </c:pt>
                <c:pt idx="286">
                  <c:v>40554</c:v>
                </c:pt>
                <c:pt idx="287">
                  <c:v>40555</c:v>
                </c:pt>
                <c:pt idx="288">
                  <c:v>40556</c:v>
                </c:pt>
                <c:pt idx="289">
                  <c:v>40557</c:v>
                </c:pt>
                <c:pt idx="290">
                  <c:v>40560</c:v>
                </c:pt>
                <c:pt idx="291">
                  <c:v>40561</c:v>
                </c:pt>
                <c:pt idx="292">
                  <c:v>40562</c:v>
                </c:pt>
                <c:pt idx="293">
                  <c:v>40563</c:v>
                </c:pt>
                <c:pt idx="294">
                  <c:v>40564</c:v>
                </c:pt>
                <c:pt idx="295">
                  <c:v>40567</c:v>
                </c:pt>
                <c:pt idx="296">
                  <c:v>40568</c:v>
                </c:pt>
                <c:pt idx="297">
                  <c:v>40569</c:v>
                </c:pt>
                <c:pt idx="298">
                  <c:v>40570</c:v>
                </c:pt>
                <c:pt idx="299">
                  <c:v>40571</c:v>
                </c:pt>
                <c:pt idx="300">
                  <c:v>40574</c:v>
                </c:pt>
                <c:pt idx="301">
                  <c:v>40575</c:v>
                </c:pt>
                <c:pt idx="302">
                  <c:v>40576</c:v>
                </c:pt>
                <c:pt idx="303">
                  <c:v>40577</c:v>
                </c:pt>
                <c:pt idx="304">
                  <c:v>40578</c:v>
                </c:pt>
                <c:pt idx="305">
                  <c:v>40581</c:v>
                </c:pt>
                <c:pt idx="306">
                  <c:v>40582</c:v>
                </c:pt>
                <c:pt idx="307">
                  <c:v>40583</c:v>
                </c:pt>
                <c:pt idx="308">
                  <c:v>40584</c:v>
                </c:pt>
                <c:pt idx="309">
                  <c:v>40585</c:v>
                </c:pt>
                <c:pt idx="310">
                  <c:v>40588</c:v>
                </c:pt>
                <c:pt idx="311">
                  <c:v>40589</c:v>
                </c:pt>
                <c:pt idx="312">
                  <c:v>40590</c:v>
                </c:pt>
                <c:pt idx="313">
                  <c:v>40591</c:v>
                </c:pt>
                <c:pt idx="314">
                  <c:v>40592</c:v>
                </c:pt>
                <c:pt idx="315">
                  <c:v>40595</c:v>
                </c:pt>
                <c:pt idx="316">
                  <c:v>40596</c:v>
                </c:pt>
                <c:pt idx="317">
                  <c:v>40597</c:v>
                </c:pt>
                <c:pt idx="318">
                  <c:v>40598</c:v>
                </c:pt>
                <c:pt idx="319">
                  <c:v>40599</c:v>
                </c:pt>
                <c:pt idx="320">
                  <c:v>40602</c:v>
                </c:pt>
                <c:pt idx="321">
                  <c:v>40603</c:v>
                </c:pt>
                <c:pt idx="322">
                  <c:v>40604</c:v>
                </c:pt>
                <c:pt idx="323">
                  <c:v>40605</c:v>
                </c:pt>
                <c:pt idx="324">
                  <c:v>40606</c:v>
                </c:pt>
                <c:pt idx="325">
                  <c:v>40609</c:v>
                </c:pt>
                <c:pt idx="326">
                  <c:v>40610</c:v>
                </c:pt>
                <c:pt idx="327">
                  <c:v>40611</c:v>
                </c:pt>
                <c:pt idx="328">
                  <c:v>40612</c:v>
                </c:pt>
                <c:pt idx="329">
                  <c:v>40613</c:v>
                </c:pt>
                <c:pt idx="330">
                  <c:v>40616</c:v>
                </c:pt>
                <c:pt idx="331">
                  <c:v>40617</c:v>
                </c:pt>
                <c:pt idx="332">
                  <c:v>40618</c:v>
                </c:pt>
                <c:pt idx="333">
                  <c:v>40619</c:v>
                </c:pt>
                <c:pt idx="334">
                  <c:v>40620</c:v>
                </c:pt>
                <c:pt idx="335">
                  <c:v>40623</c:v>
                </c:pt>
                <c:pt idx="336">
                  <c:v>40624</c:v>
                </c:pt>
                <c:pt idx="337">
                  <c:v>40625</c:v>
                </c:pt>
                <c:pt idx="338">
                  <c:v>40626</c:v>
                </c:pt>
                <c:pt idx="339">
                  <c:v>40627</c:v>
                </c:pt>
                <c:pt idx="340">
                  <c:v>40630</c:v>
                </c:pt>
                <c:pt idx="341">
                  <c:v>40631</c:v>
                </c:pt>
                <c:pt idx="342">
                  <c:v>40632</c:v>
                </c:pt>
                <c:pt idx="343">
                  <c:v>40633</c:v>
                </c:pt>
                <c:pt idx="344">
                  <c:v>40634</c:v>
                </c:pt>
                <c:pt idx="345">
                  <c:v>40637</c:v>
                </c:pt>
                <c:pt idx="346">
                  <c:v>40638</c:v>
                </c:pt>
                <c:pt idx="347">
                  <c:v>40639</c:v>
                </c:pt>
                <c:pt idx="348">
                  <c:v>40640</c:v>
                </c:pt>
                <c:pt idx="349">
                  <c:v>40641</c:v>
                </c:pt>
                <c:pt idx="350">
                  <c:v>40644</c:v>
                </c:pt>
                <c:pt idx="351">
                  <c:v>40645</c:v>
                </c:pt>
                <c:pt idx="352">
                  <c:v>40646</c:v>
                </c:pt>
                <c:pt idx="353">
                  <c:v>40647</c:v>
                </c:pt>
                <c:pt idx="354">
                  <c:v>40648</c:v>
                </c:pt>
                <c:pt idx="355">
                  <c:v>40651</c:v>
                </c:pt>
                <c:pt idx="356">
                  <c:v>40652</c:v>
                </c:pt>
                <c:pt idx="357">
                  <c:v>40653</c:v>
                </c:pt>
                <c:pt idx="358">
                  <c:v>40654</c:v>
                </c:pt>
                <c:pt idx="359">
                  <c:v>40659</c:v>
                </c:pt>
                <c:pt idx="360">
                  <c:v>40660</c:v>
                </c:pt>
                <c:pt idx="361">
                  <c:v>40661</c:v>
                </c:pt>
                <c:pt idx="362">
                  <c:v>40662</c:v>
                </c:pt>
                <c:pt idx="363">
                  <c:v>40665</c:v>
                </c:pt>
                <c:pt idx="364">
                  <c:v>40666</c:v>
                </c:pt>
                <c:pt idx="365">
                  <c:v>40667</c:v>
                </c:pt>
                <c:pt idx="366">
                  <c:v>40668</c:v>
                </c:pt>
                <c:pt idx="367">
                  <c:v>40669</c:v>
                </c:pt>
                <c:pt idx="368">
                  <c:v>40672</c:v>
                </c:pt>
                <c:pt idx="369">
                  <c:v>40673</c:v>
                </c:pt>
                <c:pt idx="370">
                  <c:v>40674</c:v>
                </c:pt>
                <c:pt idx="371">
                  <c:v>40675</c:v>
                </c:pt>
                <c:pt idx="372">
                  <c:v>40676</c:v>
                </c:pt>
                <c:pt idx="373">
                  <c:v>40679</c:v>
                </c:pt>
                <c:pt idx="374">
                  <c:v>40680</c:v>
                </c:pt>
                <c:pt idx="375">
                  <c:v>40681</c:v>
                </c:pt>
                <c:pt idx="376">
                  <c:v>40682</c:v>
                </c:pt>
                <c:pt idx="377">
                  <c:v>40683</c:v>
                </c:pt>
                <c:pt idx="378">
                  <c:v>40686</c:v>
                </c:pt>
                <c:pt idx="379">
                  <c:v>40687</c:v>
                </c:pt>
                <c:pt idx="380">
                  <c:v>40688</c:v>
                </c:pt>
                <c:pt idx="381">
                  <c:v>40689</c:v>
                </c:pt>
                <c:pt idx="382">
                  <c:v>40690</c:v>
                </c:pt>
                <c:pt idx="383">
                  <c:v>40693</c:v>
                </c:pt>
                <c:pt idx="384">
                  <c:v>40694</c:v>
                </c:pt>
                <c:pt idx="385">
                  <c:v>40695</c:v>
                </c:pt>
                <c:pt idx="386">
                  <c:v>40696</c:v>
                </c:pt>
                <c:pt idx="387">
                  <c:v>40697</c:v>
                </c:pt>
                <c:pt idx="388">
                  <c:v>40700</c:v>
                </c:pt>
                <c:pt idx="389">
                  <c:v>40701</c:v>
                </c:pt>
                <c:pt idx="390">
                  <c:v>40702</c:v>
                </c:pt>
                <c:pt idx="391">
                  <c:v>40703</c:v>
                </c:pt>
                <c:pt idx="392">
                  <c:v>40704</c:v>
                </c:pt>
                <c:pt idx="393">
                  <c:v>40707</c:v>
                </c:pt>
                <c:pt idx="394">
                  <c:v>40708</c:v>
                </c:pt>
                <c:pt idx="395">
                  <c:v>40709</c:v>
                </c:pt>
                <c:pt idx="396">
                  <c:v>40710</c:v>
                </c:pt>
                <c:pt idx="397">
                  <c:v>40711</c:v>
                </c:pt>
                <c:pt idx="398">
                  <c:v>40714</c:v>
                </c:pt>
                <c:pt idx="399">
                  <c:v>40715</c:v>
                </c:pt>
                <c:pt idx="400">
                  <c:v>40716</c:v>
                </c:pt>
                <c:pt idx="401">
                  <c:v>40717</c:v>
                </c:pt>
                <c:pt idx="402">
                  <c:v>40718</c:v>
                </c:pt>
                <c:pt idx="403">
                  <c:v>40721</c:v>
                </c:pt>
                <c:pt idx="404">
                  <c:v>40722</c:v>
                </c:pt>
                <c:pt idx="405">
                  <c:v>40723</c:v>
                </c:pt>
                <c:pt idx="406">
                  <c:v>40724</c:v>
                </c:pt>
                <c:pt idx="407">
                  <c:v>40725</c:v>
                </c:pt>
                <c:pt idx="408">
                  <c:v>40728</c:v>
                </c:pt>
                <c:pt idx="409">
                  <c:v>40729</c:v>
                </c:pt>
                <c:pt idx="410">
                  <c:v>40730</c:v>
                </c:pt>
                <c:pt idx="411">
                  <c:v>40731</c:v>
                </c:pt>
                <c:pt idx="412">
                  <c:v>40732</c:v>
                </c:pt>
                <c:pt idx="413">
                  <c:v>40735</c:v>
                </c:pt>
                <c:pt idx="414">
                  <c:v>40736</c:v>
                </c:pt>
                <c:pt idx="415">
                  <c:v>40737</c:v>
                </c:pt>
                <c:pt idx="416">
                  <c:v>40738</c:v>
                </c:pt>
                <c:pt idx="417">
                  <c:v>40739</c:v>
                </c:pt>
                <c:pt idx="418">
                  <c:v>40742</c:v>
                </c:pt>
                <c:pt idx="419">
                  <c:v>40743</c:v>
                </c:pt>
                <c:pt idx="420">
                  <c:v>40744</c:v>
                </c:pt>
                <c:pt idx="421">
                  <c:v>40745</c:v>
                </c:pt>
                <c:pt idx="422">
                  <c:v>40746</c:v>
                </c:pt>
                <c:pt idx="423">
                  <c:v>40749</c:v>
                </c:pt>
                <c:pt idx="424">
                  <c:v>40750</c:v>
                </c:pt>
                <c:pt idx="425">
                  <c:v>40751</c:v>
                </c:pt>
                <c:pt idx="426">
                  <c:v>40752</c:v>
                </c:pt>
                <c:pt idx="427">
                  <c:v>40753</c:v>
                </c:pt>
                <c:pt idx="428">
                  <c:v>40756</c:v>
                </c:pt>
                <c:pt idx="429">
                  <c:v>40757</c:v>
                </c:pt>
                <c:pt idx="430">
                  <c:v>40758</c:v>
                </c:pt>
                <c:pt idx="431">
                  <c:v>40759</c:v>
                </c:pt>
                <c:pt idx="432">
                  <c:v>40760</c:v>
                </c:pt>
                <c:pt idx="433">
                  <c:v>40763</c:v>
                </c:pt>
                <c:pt idx="434">
                  <c:v>40764</c:v>
                </c:pt>
                <c:pt idx="435">
                  <c:v>40765</c:v>
                </c:pt>
                <c:pt idx="436">
                  <c:v>40766</c:v>
                </c:pt>
                <c:pt idx="437">
                  <c:v>40767</c:v>
                </c:pt>
                <c:pt idx="438">
                  <c:v>40770</c:v>
                </c:pt>
                <c:pt idx="439">
                  <c:v>40771</c:v>
                </c:pt>
                <c:pt idx="440">
                  <c:v>40772</c:v>
                </c:pt>
                <c:pt idx="441">
                  <c:v>40773</c:v>
                </c:pt>
                <c:pt idx="442">
                  <c:v>40774</c:v>
                </c:pt>
                <c:pt idx="443">
                  <c:v>40777</c:v>
                </c:pt>
                <c:pt idx="444">
                  <c:v>40778</c:v>
                </c:pt>
                <c:pt idx="445">
                  <c:v>40779</c:v>
                </c:pt>
                <c:pt idx="446">
                  <c:v>40780</c:v>
                </c:pt>
                <c:pt idx="447">
                  <c:v>40781</c:v>
                </c:pt>
                <c:pt idx="448">
                  <c:v>40784</c:v>
                </c:pt>
                <c:pt idx="449">
                  <c:v>40785</c:v>
                </c:pt>
                <c:pt idx="450">
                  <c:v>40786</c:v>
                </c:pt>
                <c:pt idx="451">
                  <c:v>40787</c:v>
                </c:pt>
                <c:pt idx="452">
                  <c:v>40788</c:v>
                </c:pt>
                <c:pt idx="453">
                  <c:v>40791</c:v>
                </c:pt>
                <c:pt idx="454">
                  <c:v>40792</c:v>
                </c:pt>
                <c:pt idx="455">
                  <c:v>40793</c:v>
                </c:pt>
                <c:pt idx="456">
                  <c:v>40794</c:v>
                </c:pt>
                <c:pt idx="457">
                  <c:v>40795</c:v>
                </c:pt>
                <c:pt idx="458">
                  <c:v>40798</c:v>
                </c:pt>
                <c:pt idx="459">
                  <c:v>40799</c:v>
                </c:pt>
                <c:pt idx="460">
                  <c:v>40800</c:v>
                </c:pt>
                <c:pt idx="461">
                  <c:v>40801</c:v>
                </c:pt>
                <c:pt idx="462">
                  <c:v>40802</c:v>
                </c:pt>
                <c:pt idx="463">
                  <c:v>40805</c:v>
                </c:pt>
                <c:pt idx="464">
                  <c:v>40806</c:v>
                </c:pt>
                <c:pt idx="465">
                  <c:v>40807</c:v>
                </c:pt>
                <c:pt idx="466">
                  <c:v>40808</c:v>
                </c:pt>
                <c:pt idx="467">
                  <c:v>40809</c:v>
                </c:pt>
                <c:pt idx="468">
                  <c:v>40812</c:v>
                </c:pt>
                <c:pt idx="469">
                  <c:v>40813</c:v>
                </c:pt>
                <c:pt idx="470">
                  <c:v>40814</c:v>
                </c:pt>
                <c:pt idx="471">
                  <c:v>40815</c:v>
                </c:pt>
                <c:pt idx="472">
                  <c:v>40816</c:v>
                </c:pt>
                <c:pt idx="473">
                  <c:v>40819</c:v>
                </c:pt>
                <c:pt idx="474">
                  <c:v>40820</c:v>
                </c:pt>
                <c:pt idx="475">
                  <c:v>40821</c:v>
                </c:pt>
                <c:pt idx="476">
                  <c:v>40822</c:v>
                </c:pt>
                <c:pt idx="477">
                  <c:v>40823</c:v>
                </c:pt>
                <c:pt idx="478">
                  <c:v>40826</c:v>
                </c:pt>
                <c:pt idx="479">
                  <c:v>40827</c:v>
                </c:pt>
                <c:pt idx="480">
                  <c:v>40828</c:v>
                </c:pt>
                <c:pt idx="481">
                  <c:v>40829</c:v>
                </c:pt>
                <c:pt idx="482">
                  <c:v>40830</c:v>
                </c:pt>
                <c:pt idx="483">
                  <c:v>40833</c:v>
                </c:pt>
                <c:pt idx="484">
                  <c:v>40834</c:v>
                </c:pt>
                <c:pt idx="485">
                  <c:v>40835</c:v>
                </c:pt>
                <c:pt idx="486">
                  <c:v>40836</c:v>
                </c:pt>
                <c:pt idx="487">
                  <c:v>40837</c:v>
                </c:pt>
                <c:pt idx="488">
                  <c:v>40840</c:v>
                </c:pt>
                <c:pt idx="489">
                  <c:v>40841</c:v>
                </c:pt>
                <c:pt idx="490">
                  <c:v>40842</c:v>
                </c:pt>
                <c:pt idx="491">
                  <c:v>40843</c:v>
                </c:pt>
                <c:pt idx="492">
                  <c:v>40844</c:v>
                </c:pt>
                <c:pt idx="493">
                  <c:v>40847</c:v>
                </c:pt>
                <c:pt idx="494">
                  <c:v>40848</c:v>
                </c:pt>
                <c:pt idx="495">
                  <c:v>40849</c:v>
                </c:pt>
                <c:pt idx="496">
                  <c:v>40850</c:v>
                </c:pt>
                <c:pt idx="497">
                  <c:v>40851</c:v>
                </c:pt>
                <c:pt idx="498">
                  <c:v>40854</c:v>
                </c:pt>
                <c:pt idx="499">
                  <c:v>40855</c:v>
                </c:pt>
                <c:pt idx="500">
                  <c:v>40856</c:v>
                </c:pt>
                <c:pt idx="501">
                  <c:v>40857</c:v>
                </c:pt>
                <c:pt idx="502">
                  <c:v>40858</c:v>
                </c:pt>
                <c:pt idx="503">
                  <c:v>40861</c:v>
                </c:pt>
                <c:pt idx="504">
                  <c:v>40862</c:v>
                </c:pt>
                <c:pt idx="505">
                  <c:v>40863</c:v>
                </c:pt>
                <c:pt idx="506">
                  <c:v>40864</c:v>
                </c:pt>
                <c:pt idx="507">
                  <c:v>40865</c:v>
                </c:pt>
                <c:pt idx="508">
                  <c:v>40868</c:v>
                </c:pt>
                <c:pt idx="509">
                  <c:v>40869</c:v>
                </c:pt>
                <c:pt idx="510">
                  <c:v>40870</c:v>
                </c:pt>
                <c:pt idx="511">
                  <c:v>40871</c:v>
                </c:pt>
                <c:pt idx="512">
                  <c:v>40872</c:v>
                </c:pt>
                <c:pt idx="513">
                  <c:v>40875</c:v>
                </c:pt>
                <c:pt idx="514">
                  <c:v>40876</c:v>
                </c:pt>
                <c:pt idx="515">
                  <c:v>40877</c:v>
                </c:pt>
                <c:pt idx="516">
                  <c:v>40878</c:v>
                </c:pt>
                <c:pt idx="517">
                  <c:v>40879</c:v>
                </c:pt>
                <c:pt idx="518">
                  <c:v>40882</c:v>
                </c:pt>
                <c:pt idx="519">
                  <c:v>40883</c:v>
                </c:pt>
                <c:pt idx="520">
                  <c:v>40884</c:v>
                </c:pt>
                <c:pt idx="521">
                  <c:v>40885</c:v>
                </c:pt>
                <c:pt idx="522">
                  <c:v>40886</c:v>
                </c:pt>
                <c:pt idx="523">
                  <c:v>40889</c:v>
                </c:pt>
                <c:pt idx="524">
                  <c:v>40890</c:v>
                </c:pt>
                <c:pt idx="525">
                  <c:v>40891</c:v>
                </c:pt>
                <c:pt idx="526">
                  <c:v>40892</c:v>
                </c:pt>
                <c:pt idx="527">
                  <c:v>40893</c:v>
                </c:pt>
                <c:pt idx="528">
                  <c:v>40896</c:v>
                </c:pt>
                <c:pt idx="529">
                  <c:v>40897</c:v>
                </c:pt>
                <c:pt idx="530">
                  <c:v>40898</c:v>
                </c:pt>
                <c:pt idx="531">
                  <c:v>40899</c:v>
                </c:pt>
                <c:pt idx="532">
                  <c:v>40900</c:v>
                </c:pt>
                <c:pt idx="533">
                  <c:v>40904</c:v>
                </c:pt>
                <c:pt idx="534">
                  <c:v>40905</c:v>
                </c:pt>
                <c:pt idx="535">
                  <c:v>40906</c:v>
                </c:pt>
                <c:pt idx="536">
                  <c:v>40907</c:v>
                </c:pt>
                <c:pt idx="537">
                  <c:v>40910</c:v>
                </c:pt>
                <c:pt idx="538">
                  <c:v>40911</c:v>
                </c:pt>
                <c:pt idx="539">
                  <c:v>40912</c:v>
                </c:pt>
                <c:pt idx="540">
                  <c:v>40913</c:v>
                </c:pt>
                <c:pt idx="541">
                  <c:v>40914</c:v>
                </c:pt>
                <c:pt idx="542">
                  <c:v>40917</c:v>
                </c:pt>
                <c:pt idx="543">
                  <c:v>40918</c:v>
                </c:pt>
                <c:pt idx="544">
                  <c:v>40919</c:v>
                </c:pt>
                <c:pt idx="545">
                  <c:v>40920</c:v>
                </c:pt>
                <c:pt idx="546">
                  <c:v>40921</c:v>
                </c:pt>
                <c:pt idx="547">
                  <c:v>40924</c:v>
                </c:pt>
                <c:pt idx="548">
                  <c:v>40925</c:v>
                </c:pt>
                <c:pt idx="549">
                  <c:v>40926</c:v>
                </c:pt>
                <c:pt idx="550">
                  <c:v>40927</c:v>
                </c:pt>
                <c:pt idx="551">
                  <c:v>40928</c:v>
                </c:pt>
                <c:pt idx="552">
                  <c:v>40931</c:v>
                </c:pt>
                <c:pt idx="553">
                  <c:v>40932</c:v>
                </c:pt>
                <c:pt idx="554">
                  <c:v>40933</c:v>
                </c:pt>
                <c:pt idx="555">
                  <c:v>40934</c:v>
                </c:pt>
                <c:pt idx="556">
                  <c:v>40935</c:v>
                </c:pt>
                <c:pt idx="557">
                  <c:v>40938</c:v>
                </c:pt>
                <c:pt idx="558">
                  <c:v>40939</c:v>
                </c:pt>
                <c:pt idx="559">
                  <c:v>40940</c:v>
                </c:pt>
                <c:pt idx="560">
                  <c:v>40941</c:v>
                </c:pt>
                <c:pt idx="561">
                  <c:v>40942</c:v>
                </c:pt>
                <c:pt idx="562">
                  <c:v>40945</c:v>
                </c:pt>
                <c:pt idx="563">
                  <c:v>40946</c:v>
                </c:pt>
                <c:pt idx="564">
                  <c:v>40947</c:v>
                </c:pt>
                <c:pt idx="565">
                  <c:v>40948</c:v>
                </c:pt>
                <c:pt idx="566">
                  <c:v>40949</c:v>
                </c:pt>
                <c:pt idx="567">
                  <c:v>40952</c:v>
                </c:pt>
                <c:pt idx="568">
                  <c:v>40953</c:v>
                </c:pt>
                <c:pt idx="569">
                  <c:v>40954</c:v>
                </c:pt>
                <c:pt idx="570">
                  <c:v>40955</c:v>
                </c:pt>
                <c:pt idx="571">
                  <c:v>40956</c:v>
                </c:pt>
                <c:pt idx="572">
                  <c:v>40959</c:v>
                </c:pt>
                <c:pt idx="573">
                  <c:v>40960</c:v>
                </c:pt>
                <c:pt idx="574">
                  <c:v>40961</c:v>
                </c:pt>
                <c:pt idx="575">
                  <c:v>40962</c:v>
                </c:pt>
                <c:pt idx="576">
                  <c:v>40963</c:v>
                </c:pt>
                <c:pt idx="577">
                  <c:v>40966</c:v>
                </c:pt>
                <c:pt idx="578">
                  <c:v>40967</c:v>
                </c:pt>
                <c:pt idx="579">
                  <c:v>40968</c:v>
                </c:pt>
                <c:pt idx="580">
                  <c:v>40969</c:v>
                </c:pt>
                <c:pt idx="581">
                  <c:v>40970</c:v>
                </c:pt>
                <c:pt idx="582">
                  <c:v>40973</c:v>
                </c:pt>
                <c:pt idx="583">
                  <c:v>40974</c:v>
                </c:pt>
                <c:pt idx="584">
                  <c:v>40975</c:v>
                </c:pt>
                <c:pt idx="585">
                  <c:v>40976</c:v>
                </c:pt>
                <c:pt idx="586">
                  <c:v>40977</c:v>
                </c:pt>
                <c:pt idx="587">
                  <c:v>40980</c:v>
                </c:pt>
                <c:pt idx="588">
                  <c:v>40981</c:v>
                </c:pt>
                <c:pt idx="589">
                  <c:v>40982</c:v>
                </c:pt>
                <c:pt idx="590">
                  <c:v>40983</c:v>
                </c:pt>
                <c:pt idx="591">
                  <c:v>40984</c:v>
                </c:pt>
                <c:pt idx="592">
                  <c:v>40987</c:v>
                </c:pt>
                <c:pt idx="593">
                  <c:v>40988</c:v>
                </c:pt>
                <c:pt idx="594">
                  <c:v>40989</c:v>
                </c:pt>
                <c:pt idx="595">
                  <c:v>40990</c:v>
                </c:pt>
                <c:pt idx="596">
                  <c:v>40991</c:v>
                </c:pt>
                <c:pt idx="597">
                  <c:v>40994</c:v>
                </c:pt>
                <c:pt idx="598">
                  <c:v>40995</c:v>
                </c:pt>
                <c:pt idx="599">
                  <c:v>40996</c:v>
                </c:pt>
                <c:pt idx="600">
                  <c:v>40997</c:v>
                </c:pt>
                <c:pt idx="601">
                  <c:v>40998</c:v>
                </c:pt>
                <c:pt idx="602">
                  <c:v>41001</c:v>
                </c:pt>
                <c:pt idx="603">
                  <c:v>41002</c:v>
                </c:pt>
                <c:pt idx="604">
                  <c:v>41003</c:v>
                </c:pt>
                <c:pt idx="605">
                  <c:v>41004</c:v>
                </c:pt>
                <c:pt idx="606">
                  <c:v>41009</c:v>
                </c:pt>
                <c:pt idx="607">
                  <c:v>41010</c:v>
                </c:pt>
                <c:pt idx="608">
                  <c:v>41011</c:v>
                </c:pt>
                <c:pt idx="609">
                  <c:v>41012</c:v>
                </c:pt>
                <c:pt idx="610">
                  <c:v>41015</c:v>
                </c:pt>
                <c:pt idx="611">
                  <c:v>41016</c:v>
                </c:pt>
                <c:pt idx="612">
                  <c:v>41017</c:v>
                </c:pt>
                <c:pt idx="613">
                  <c:v>41018</c:v>
                </c:pt>
                <c:pt idx="614">
                  <c:v>41019</c:v>
                </c:pt>
                <c:pt idx="615">
                  <c:v>41022</c:v>
                </c:pt>
                <c:pt idx="616">
                  <c:v>41023</c:v>
                </c:pt>
                <c:pt idx="617">
                  <c:v>41024</c:v>
                </c:pt>
                <c:pt idx="618">
                  <c:v>41025</c:v>
                </c:pt>
                <c:pt idx="619">
                  <c:v>41026</c:v>
                </c:pt>
                <c:pt idx="620">
                  <c:v>41029</c:v>
                </c:pt>
                <c:pt idx="621">
                  <c:v>41030</c:v>
                </c:pt>
                <c:pt idx="622">
                  <c:v>41031</c:v>
                </c:pt>
                <c:pt idx="623">
                  <c:v>41032</c:v>
                </c:pt>
                <c:pt idx="624">
                  <c:v>41033</c:v>
                </c:pt>
                <c:pt idx="625">
                  <c:v>41036</c:v>
                </c:pt>
                <c:pt idx="626">
                  <c:v>41037</c:v>
                </c:pt>
                <c:pt idx="627">
                  <c:v>41038</c:v>
                </c:pt>
                <c:pt idx="628">
                  <c:v>41039</c:v>
                </c:pt>
                <c:pt idx="629">
                  <c:v>41040</c:v>
                </c:pt>
                <c:pt idx="630">
                  <c:v>41043</c:v>
                </c:pt>
                <c:pt idx="631">
                  <c:v>41044</c:v>
                </c:pt>
                <c:pt idx="632">
                  <c:v>41045</c:v>
                </c:pt>
                <c:pt idx="633">
                  <c:v>41046</c:v>
                </c:pt>
                <c:pt idx="634">
                  <c:v>41047</c:v>
                </c:pt>
                <c:pt idx="635">
                  <c:v>41050</c:v>
                </c:pt>
                <c:pt idx="636">
                  <c:v>41051</c:v>
                </c:pt>
                <c:pt idx="637">
                  <c:v>41052</c:v>
                </c:pt>
                <c:pt idx="638">
                  <c:v>41053</c:v>
                </c:pt>
                <c:pt idx="639">
                  <c:v>41054</c:v>
                </c:pt>
                <c:pt idx="640">
                  <c:v>41057</c:v>
                </c:pt>
                <c:pt idx="641">
                  <c:v>41058</c:v>
                </c:pt>
                <c:pt idx="642">
                  <c:v>41059</c:v>
                </c:pt>
                <c:pt idx="643">
                  <c:v>41060</c:v>
                </c:pt>
                <c:pt idx="644">
                  <c:v>41061</c:v>
                </c:pt>
                <c:pt idx="645">
                  <c:v>41064</c:v>
                </c:pt>
                <c:pt idx="646">
                  <c:v>41065</c:v>
                </c:pt>
                <c:pt idx="647">
                  <c:v>41066</c:v>
                </c:pt>
                <c:pt idx="648">
                  <c:v>41067</c:v>
                </c:pt>
                <c:pt idx="649">
                  <c:v>41068</c:v>
                </c:pt>
                <c:pt idx="650">
                  <c:v>41071</c:v>
                </c:pt>
                <c:pt idx="651">
                  <c:v>41072</c:v>
                </c:pt>
                <c:pt idx="652">
                  <c:v>41073</c:v>
                </c:pt>
                <c:pt idx="653">
                  <c:v>41074</c:v>
                </c:pt>
                <c:pt idx="654">
                  <c:v>41075</c:v>
                </c:pt>
                <c:pt idx="655">
                  <c:v>41078</c:v>
                </c:pt>
                <c:pt idx="656">
                  <c:v>41079</c:v>
                </c:pt>
                <c:pt idx="657">
                  <c:v>41080</c:v>
                </c:pt>
                <c:pt idx="658">
                  <c:v>41081</c:v>
                </c:pt>
                <c:pt idx="659">
                  <c:v>41082</c:v>
                </c:pt>
                <c:pt idx="660">
                  <c:v>41085</c:v>
                </c:pt>
                <c:pt idx="661">
                  <c:v>41086</c:v>
                </c:pt>
                <c:pt idx="662">
                  <c:v>41087</c:v>
                </c:pt>
                <c:pt idx="663">
                  <c:v>41088</c:v>
                </c:pt>
                <c:pt idx="664">
                  <c:v>41089</c:v>
                </c:pt>
                <c:pt idx="665">
                  <c:v>41092</c:v>
                </c:pt>
                <c:pt idx="666">
                  <c:v>41093</c:v>
                </c:pt>
                <c:pt idx="667">
                  <c:v>41094</c:v>
                </c:pt>
                <c:pt idx="668">
                  <c:v>41095</c:v>
                </c:pt>
                <c:pt idx="669">
                  <c:v>41096</c:v>
                </c:pt>
                <c:pt idx="670">
                  <c:v>41099</c:v>
                </c:pt>
                <c:pt idx="671">
                  <c:v>41100</c:v>
                </c:pt>
                <c:pt idx="672">
                  <c:v>41101</c:v>
                </c:pt>
                <c:pt idx="673">
                  <c:v>41102</c:v>
                </c:pt>
                <c:pt idx="674">
                  <c:v>41103</c:v>
                </c:pt>
                <c:pt idx="675">
                  <c:v>41106</c:v>
                </c:pt>
                <c:pt idx="676">
                  <c:v>41107</c:v>
                </c:pt>
                <c:pt idx="677">
                  <c:v>41108</c:v>
                </c:pt>
                <c:pt idx="678">
                  <c:v>41109</c:v>
                </c:pt>
                <c:pt idx="679">
                  <c:v>41110</c:v>
                </c:pt>
                <c:pt idx="680">
                  <c:v>41113</c:v>
                </c:pt>
                <c:pt idx="681">
                  <c:v>41114</c:v>
                </c:pt>
                <c:pt idx="682">
                  <c:v>41115</c:v>
                </c:pt>
                <c:pt idx="683">
                  <c:v>41116</c:v>
                </c:pt>
                <c:pt idx="684">
                  <c:v>41117</c:v>
                </c:pt>
                <c:pt idx="685">
                  <c:v>41120</c:v>
                </c:pt>
                <c:pt idx="686">
                  <c:v>41121</c:v>
                </c:pt>
                <c:pt idx="687">
                  <c:v>41122</c:v>
                </c:pt>
                <c:pt idx="688">
                  <c:v>41123</c:v>
                </c:pt>
                <c:pt idx="689">
                  <c:v>41124</c:v>
                </c:pt>
                <c:pt idx="690">
                  <c:v>41127</c:v>
                </c:pt>
                <c:pt idx="691">
                  <c:v>41128</c:v>
                </c:pt>
                <c:pt idx="692">
                  <c:v>41129</c:v>
                </c:pt>
                <c:pt idx="693">
                  <c:v>41130</c:v>
                </c:pt>
                <c:pt idx="694">
                  <c:v>41131</c:v>
                </c:pt>
                <c:pt idx="695">
                  <c:v>41134</c:v>
                </c:pt>
                <c:pt idx="696">
                  <c:v>41135</c:v>
                </c:pt>
                <c:pt idx="697">
                  <c:v>41136</c:v>
                </c:pt>
                <c:pt idx="698">
                  <c:v>41137</c:v>
                </c:pt>
                <c:pt idx="699">
                  <c:v>41138</c:v>
                </c:pt>
                <c:pt idx="700">
                  <c:v>41141</c:v>
                </c:pt>
                <c:pt idx="701">
                  <c:v>41142</c:v>
                </c:pt>
                <c:pt idx="702">
                  <c:v>41143</c:v>
                </c:pt>
                <c:pt idx="703">
                  <c:v>41144</c:v>
                </c:pt>
                <c:pt idx="704">
                  <c:v>41145</c:v>
                </c:pt>
                <c:pt idx="705">
                  <c:v>41148</c:v>
                </c:pt>
                <c:pt idx="706">
                  <c:v>41149</c:v>
                </c:pt>
                <c:pt idx="707">
                  <c:v>41150</c:v>
                </c:pt>
                <c:pt idx="708">
                  <c:v>41151</c:v>
                </c:pt>
                <c:pt idx="709">
                  <c:v>41152</c:v>
                </c:pt>
                <c:pt idx="710">
                  <c:v>41155</c:v>
                </c:pt>
                <c:pt idx="711">
                  <c:v>41156</c:v>
                </c:pt>
                <c:pt idx="712">
                  <c:v>41157</c:v>
                </c:pt>
                <c:pt idx="713">
                  <c:v>41158</c:v>
                </c:pt>
                <c:pt idx="714">
                  <c:v>41159</c:v>
                </c:pt>
                <c:pt idx="715">
                  <c:v>41162</c:v>
                </c:pt>
                <c:pt idx="716">
                  <c:v>41163</c:v>
                </c:pt>
                <c:pt idx="717">
                  <c:v>41164</c:v>
                </c:pt>
                <c:pt idx="718">
                  <c:v>41165</c:v>
                </c:pt>
                <c:pt idx="719">
                  <c:v>41166</c:v>
                </c:pt>
                <c:pt idx="720">
                  <c:v>41169</c:v>
                </c:pt>
                <c:pt idx="721">
                  <c:v>41170</c:v>
                </c:pt>
                <c:pt idx="722">
                  <c:v>41171</c:v>
                </c:pt>
                <c:pt idx="723">
                  <c:v>41172</c:v>
                </c:pt>
                <c:pt idx="724">
                  <c:v>41173</c:v>
                </c:pt>
                <c:pt idx="725">
                  <c:v>41176</c:v>
                </c:pt>
                <c:pt idx="726">
                  <c:v>41177</c:v>
                </c:pt>
                <c:pt idx="727">
                  <c:v>41178</c:v>
                </c:pt>
                <c:pt idx="728">
                  <c:v>41179</c:v>
                </c:pt>
                <c:pt idx="729">
                  <c:v>41180</c:v>
                </c:pt>
                <c:pt idx="730">
                  <c:v>41183</c:v>
                </c:pt>
                <c:pt idx="731">
                  <c:v>41184</c:v>
                </c:pt>
                <c:pt idx="732">
                  <c:v>41185</c:v>
                </c:pt>
                <c:pt idx="733">
                  <c:v>41186</c:v>
                </c:pt>
                <c:pt idx="734">
                  <c:v>41187</c:v>
                </c:pt>
                <c:pt idx="735">
                  <c:v>41190</c:v>
                </c:pt>
                <c:pt idx="736">
                  <c:v>41191</c:v>
                </c:pt>
                <c:pt idx="737">
                  <c:v>41192</c:v>
                </c:pt>
                <c:pt idx="738">
                  <c:v>41193</c:v>
                </c:pt>
                <c:pt idx="739">
                  <c:v>41194</c:v>
                </c:pt>
                <c:pt idx="740">
                  <c:v>41197</c:v>
                </c:pt>
                <c:pt idx="741">
                  <c:v>41198</c:v>
                </c:pt>
                <c:pt idx="742">
                  <c:v>41199</c:v>
                </c:pt>
                <c:pt idx="743">
                  <c:v>41200</c:v>
                </c:pt>
                <c:pt idx="744">
                  <c:v>41201</c:v>
                </c:pt>
                <c:pt idx="745">
                  <c:v>41204</c:v>
                </c:pt>
                <c:pt idx="746">
                  <c:v>41205</c:v>
                </c:pt>
                <c:pt idx="747">
                  <c:v>41206</c:v>
                </c:pt>
                <c:pt idx="748">
                  <c:v>41207</c:v>
                </c:pt>
                <c:pt idx="749">
                  <c:v>41208</c:v>
                </c:pt>
                <c:pt idx="750">
                  <c:v>41211</c:v>
                </c:pt>
                <c:pt idx="751">
                  <c:v>41212</c:v>
                </c:pt>
                <c:pt idx="752">
                  <c:v>41213</c:v>
                </c:pt>
                <c:pt idx="753">
                  <c:v>41214</c:v>
                </c:pt>
                <c:pt idx="754">
                  <c:v>41215</c:v>
                </c:pt>
                <c:pt idx="755">
                  <c:v>41218</c:v>
                </c:pt>
                <c:pt idx="756">
                  <c:v>41219</c:v>
                </c:pt>
                <c:pt idx="757">
                  <c:v>41220</c:v>
                </c:pt>
                <c:pt idx="758">
                  <c:v>41221</c:v>
                </c:pt>
                <c:pt idx="759">
                  <c:v>41222</c:v>
                </c:pt>
                <c:pt idx="760">
                  <c:v>41225</c:v>
                </c:pt>
                <c:pt idx="761">
                  <c:v>41226</c:v>
                </c:pt>
                <c:pt idx="762">
                  <c:v>41227</c:v>
                </c:pt>
                <c:pt idx="763">
                  <c:v>41228</c:v>
                </c:pt>
                <c:pt idx="764">
                  <c:v>41229</c:v>
                </c:pt>
                <c:pt idx="765">
                  <c:v>41232</c:v>
                </c:pt>
                <c:pt idx="766">
                  <c:v>41233</c:v>
                </c:pt>
                <c:pt idx="767">
                  <c:v>41234</c:v>
                </c:pt>
                <c:pt idx="768">
                  <c:v>41235</c:v>
                </c:pt>
                <c:pt idx="769">
                  <c:v>41236</c:v>
                </c:pt>
                <c:pt idx="770">
                  <c:v>41239</c:v>
                </c:pt>
                <c:pt idx="771">
                  <c:v>41240</c:v>
                </c:pt>
                <c:pt idx="772">
                  <c:v>41241</c:v>
                </c:pt>
                <c:pt idx="773">
                  <c:v>41242</c:v>
                </c:pt>
                <c:pt idx="774">
                  <c:v>41243</c:v>
                </c:pt>
                <c:pt idx="775">
                  <c:v>41246</c:v>
                </c:pt>
                <c:pt idx="776">
                  <c:v>41247</c:v>
                </c:pt>
                <c:pt idx="777">
                  <c:v>41248</c:v>
                </c:pt>
                <c:pt idx="778">
                  <c:v>41249</c:v>
                </c:pt>
                <c:pt idx="779">
                  <c:v>41250</c:v>
                </c:pt>
                <c:pt idx="780">
                  <c:v>41253</c:v>
                </c:pt>
                <c:pt idx="781">
                  <c:v>41254</c:v>
                </c:pt>
                <c:pt idx="782">
                  <c:v>41255</c:v>
                </c:pt>
                <c:pt idx="783">
                  <c:v>41256</c:v>
                </c:pt>
                <c:pt idx="784">
                  <c:v>41257</c:v>
                </c:pt>
                <c:pt idx="785">
                  <c:v>41260</c:v>
                </c:pt>
                <c:pt idx="786">
                  <c:v>41261</c:v>
                </c:pt>
                <c:pt idx="787">
                  <c:v>41262</c:v>
                </c:pt>
                <c:pt idx="788">
                  <c:v>41263</c:v>
                </c:pt>
                <c:pt idx="789">
                  <c:v>41264</c:v>
                </c:pt>
                <c:pt idx="790">
                  <c:v>41267</c:v>
                </c:pt>
                <c:pt idx="791">
                  <c:v>41270</c:v>
                </c:pt>
                <c:pt idx="792">
                  <c:v>41271</c:v>
                </c:pt>
                <c:pt idx="793">
                  <c:v>41274</c:v>
                </c:pt>
                <c:pt idx="794">
                  <c:v>41276</c:v>
                </c:pt>
                <c:pt idx="795">
                  <c:v>41277</c:v>
                </c:pt>
                <c:pt idx="796">
                  <c:v>41278</c:v>
                </c:pt>
                <c:pt idx="797">
                  <c:v>41281</c:v>
                </c:pt>
                <c:pt idx="798">
                  <c:v>41282</c:v>
                </c:pt>
                <c:pt idx="799">
                  <c:v>41283</c:v>
                </c:pt>
                <c:pt idx="800">
                  <c:v>41284</c:v>
                </c:pt>
                <c:pt idx="801">
                  <c:v>41285</c:v>
                </c:pt>
                <c:pt idx="802">
                  <c:v>41288</c:v>
                </c:pt>
                <c:pt idx="803">
                  <c:v>41289</c:v>
                </c:pt>
                <c:pt idx="804">
                  <c:v>41290</c:v>
                </c:pt>
                <c:pt idx="805">
                  <c:v>41291</c:v>
                </c:pt>
                <c:pt idx="806">
                  <c:v>41292</c:v>
                </c:pt>
                <c:pt idx="807">
                  <c:v>41295</c:v>
                </c:pt>
                <c:pt idx="808">
                  <c:v>41296</c:v>
                </c:pt>
                <c:pt idx="809">
                  <c:v>41297</c:v>
                </c:pt>
                <c:pt idx="810">
                  <c:v>41298</c:v>
                </c:pt>
                <c:pt idx="811">
                  <c:v>41299</c:v>
                </c:pt>
                <c:pt idx="812">
                  <c:v>41302</c:v>
                </c:pt>
                <c:pt idx="813">
                  <c:v>41303</c:v>
                </c:pt>
                <c:pt idx="814">
                  <c:v>41304</c:v>
                </c:pt>
                <c:pt idx="815">
                  <c:v>41305</c:v>
                </c:pt>
                <c:pt idx="816">
                  <c:v>41306</c:v>
                </c:pt>
                <c:pt idx="817">
                  <c:v>41309</c:v>
                </c:pt>
                <c:pt idx="818">
                  <c:v>41310</c:v>
                </c:pt>
                <c:pt idx="819">
                  <c:v>41311</c:v>
                </c:pt>
                <c:pt idx="820">
                  <c:v>41312</c:v>
                </c:pt>
                <c:pt idx="821">
                  <c:v>41313</c:v>
                </c:pt>
                <c:pt idx="822">
                  <c:v>41316</c:v>
                </c:pt>
                <c:pt idx="823">
                  <c:v>41317</c:v>
                </c:pt>
                <c:pt idx="824">
                  <c:v>41318</c:v>
                </c:pt>
                <c:pt idx="825">
                  <c:v>41319</c:v>
                </c:pt>
                <c:pt idx="826">
                  <c:v>41320</c:v>
                </c:pt>
                <c:pt idx="827">
                  <c:v>41323</c:v>
                </c:pt>
                <c:pt idx="828">
                  <c:v>41324</c:v>
                </c:pt>
                <c:pt idx="829">
                  <c:v>41325</c:v>
                </c:pt>
                <c:pt idx="830">
                  <c:v>41326</c:v>
                </c:pt>
                <c:pt idx="831">
                  <c:v>41327</c:v>
                </c:pt>
                <c:pt idx="832">
                  <c:v>41330</c:v>
                </c:pt>
                <c:pt idx="833">
                  <c:v>41331</c:v>
                </c:pt>
                <c:pt idx="834">
                  <c:v>41332</c:v>
                </c:pt>
                <c:pt idx="835">
                  <c:v>41333</c:v>
                </c:pt>
                <c:pt idx="836">
                  <c:v>41334</c:v>
                </c:pt>
                <c:pt idx="837">
                  <c:v>41337</c:v>
                </c:pt>
                <c:pt idx="838">
                  <c:v>41338</c:v>
                </c:pt>
                <c:pt idx="839">
                  <c:v>41339</c:v>
                </c:pt>
                <c:pt idx="840">
                  <c:v>41340</c:v>
                </c:pt>
                <c:pt idx="841">
                  <c:v>41341</c:v>
                </c:pt>
                <c:pt idx="842">
                  <c:v>41344</c:v>
                </c:pt>
                <c:pt idx="843">
                  <c:v>41345</c:v>
                </c:pt>
                <c:pt idx="844">
                  <c:v>41346</c:v>
                </c:pt>
                <c:pt idx="845">
                  <c:v>41347</c:v>
                </c:pt>
                <c:pt idx="846">
                  <c:v>41348</c:v>
                </c:pt>
                <c:pt idx="847">
                  <c:v>41351</c:v>
                </c:pt>
                <c:pt idx="848">
                  <c:v>41352</c:v>
                </c:pt>
                <c:pt idx="849">
                  <c:v>41353</c:v>
                </c:pt>
                <c:pt idx="850">
                  <c:v>41354</c:v>
                </c:pt>
                <c:pt idx="851">
                  <c:v>41355</c:v>
                </c:pt>
                <c:pt idx="852">
                  <c:v>41358</c:v>
                </c:pt>
                <c:pt idx="853">
                  <c:v>41359</c:v>
                </c:pt>
                <c:pt idx="854">
                  <c:v>41360</c:v>
                </c:pt>
                <c:pt idx="855">
                  <c:v>41361</c:v>
                </c:pt>
                <c:pt idx="856">
                  <c:v>41366</c:v>
                </c:pt>
                <c:pt idx="857">
                  <c:v>41367</c:v>
                </c:pt>
                <c:pt idx="858">
                  <c:v>41368</c:v>
                </c:pt>
                <c:pt idx="859">
                  <c:v>41369</c:v>
                </c:pt>
                <c:pt idx="860">
                  <c:v>41372</c:v>
                </c:pt>
                <c:pt idx="861">
                  <c:v>41373</c:v>
                </c:pt>
                <c:pt idx="862">
                  <c:v>41374</c:v>
                </c:pt>
                <c:pt idx="863">
                  <c:v>41375</c:v>
                </c:pt>
                <c:pt idx="864">
                  <c:v>41376</c:v>
                </c:pt>
                <c:pt idx="865">
                  <c:v>41379</c:v>
                </c:pt>
                <c:pt idx="866">
                  <c:v>41380</c:v>
                </c:pt>
                <c:pt idx="867">
                  <c:v>41381</c:v>
                </c:pt>
                <c:pt idx="868">
                  <c:v>41382</c:v>
                </c:pt>
                <c:pt idx="869">
                  <c:v>41383</c:v>
                </c:pt>
                <c:pt idx="870">
                  <c:v>41386</c:v>
                </c:pt>
                <c:pt idx="871">
                  <c:v>41387</c:v>
                </c:pt>
                <c:pt idx="872">
                  <c:v>41388</c:v>
                </c:pt>
                <c:pt idx="873">
                  <c:v>41389</c:v>
                </c:pt>
                <c:pt idx="874">
                  <c:v>41390</c:v>
                </c:pt>
                <c:pt idx="875">
                  <c:v>41393</c:v>
                </c:pt>
                <c:pt idx="876">
                  <c:v>41394</c:v>
                </c:pt>
                <c:pt idx="877">
                  <c:v>41395</c:v>
                </c:pt>
                <c:pt idx="878">
                  <c:v>41396</c:v>
                </c:pt>
                <c:pt idx="879">
                  <c:v>41397</c:v>
                </c:pt>
                <c:pt idx="880">
                  <c:v>41400</c:v>
                </c:pt>
                <c:pt idx="881">
                  <c:v>41401</c:v>
                </c:pt>
                <c:pt idx="882">
                  <c:v>41402</c:v>
                </c:pt>
                <c:pt idx="883">
                  <c:v>41403</c:v>
                </c:pt>
                <c:pt idx="884">
                  <c:v>41404</c:v>
                </c:pt>
                <c:pt idx="885">
                  <c:v>41407</c:v>
                </c:pt>
                <c:pt idx="886">
                  <c:v>41408</c:v>
                </c:pt>
                <c:pt idx="887">
                  <c:v>41409</c:v>
                </c:pt>
                <c:pt idx="888">
                  <c:v>41410</c:v>
                </c:pt>
                <c:pt idx="889">
                  <c:v>41411</c:v>
                </c:pt>
                <c:pt idx="890">
                  <c:v>41414</c:v>
                </c:pt>
                <c:pt idx="891">
                  <c:v>41415</c:v>
                </c:pt>
                <c:pt idx="892">
                  <c:v>41416</c:v>
                </c:pt>
                <c:pt idx="893">
                  <c:v>41417</c:v>
                </c:pt>
                <c:pt idx="894">
                  <c:v>41418</c:v>
                </c:pt>
                <c:pt idx="895">
                  <c:v>41421</c:v>
                </c:pt>
                <c:pt idx="896">
                  <c:v>41422</c:v>
                </c:pt>
                <c:pt idx="897">
                  <c:v>41423</c:v>
                </c:pt>
                <c:pt idx="898">
                  <c:v>41424</c:v>
                </c:pt>
                <c:pt idx="899">
                  <c:v>41425</c:v>
                </c:pt>
                <c:pt idx="900">
                  <c:v>41428</c:v>
                </c:pt>
                <c:pt idx="901">
                  <c:v>41429</c:v>
                </c:pt>
                <c:pt idx="902">
                  <c:v>41430</c:v>
                </c:pt>
                <c:pt idx="903">
                  <c:v>41431</c:v>
                </c:pt>
                <c:pt idx="904">
                  <c:v>41432</c:v>
                </c:pt>
                <c:pt idx="905">
                  <c:v>41435</c:v>
                </c:pt>
                <c:pt idx="906">
                  <c:v>41436</c:v>
                </c:pt>
                <c:pt idx="907">
                  <c:v>41437</c:v>
                </c:pt>
                <c:pt idx="908">
                  <c:v>41438</c:v>
                </c:pt>
                <c:pt idx="909">
                  <c:v>41439</c:v>
                </c:pt>
                <c:pt idx="910">
                  <c:v>41442</c:v>
                </c:pt>
                <c:pt idx="911">
                  <c:v>41443</c:v>
                </c:pt>
                <c:pt idx="912">
                  <c:v>41444</c:v>
                </c:pt>
                <c:pt idx="913">
                  <c:v>41445</c:v>
                </c:pt>
                <c:pt idx="914">
                  <c:v>41446</c:v>
                </c:pt>
                <c:pt idx="915">
                  <c:v>41449</c:v>
                </c:pt>
                <c:pt idx="916">
                  <c:v>41450</c:v>
                </c:pt>
                <c:pt idx="917">
                  <c:v>41451</c:v>
                </c:pt>
                <c:pt idx="918">
                  <c:v>41452</c:v>
                </c:pt>
                <c:pt idx="919">
                  <c:v>41453</c:v>
                </c:pt>
                <c:pt idx="920">
                  <c:v>41456</c:v>
                </c:pt>
                <c:pt idx="921">
                  <c:v>41457</c:v>
                </c:pt>
                <c:pt idx="922">
                  <c:v>41458</c:v>
                </c:pt>
                <c:pt idx="923">
                  <c:v>41459</c:v>
                </c:pt>
                <c:pt idx="924">
                  <c:v>41460</c:v>
                </c:pt>
                <c:pt idx="925">
                  <c:v>41463</c:v>
                </c:pt>
                <c:pt idx="926">
                  <c:v>41464</c:v>
                </c:pt>
                <c:pt idx="927">
                  <c:v>41465</c:v>
                </c:pt>
                <c:pt idx="928">
                  <c:v>41466</c:v>
                </c:pt>
                <c:pt idx="929">
                  <c:v>41467</c:v>
                </c:pt>
                <c:pt idx="930">
                  <c:v>41470</c:v>
                </c:pt>
                <c:pt idx="931">
                  <c:v>41471</c:v>
                </c:pt>
                <c:pt idx="932">
                  <c:v>41472</c:v>
                </c:pt>
                <c:pt idx="933">
                  <c:v>41473</c:v>
                </c:pt>
                <c:pt idx="934">
                  <c:v>41474</c:v>
                </c:pt>
                <c:pt idx="935">
                  <c:v>41477</c:v>
                </c:pt>
                <c:pt idx="936">
                  <c:v>41478</c:v>
                </c:pt>
                <c:pt idx="937">
                  <c:v>41479</c:v>
                </c:pt>
                <c:pt idx="938">
                  <c:v>41480</c:v>
                </c:pt>
                <c:pt idx="939">
                  <c:v>41481</c:v>
                </c:pt>
                <c:pt idx="940">
                  <c:v>41484</c:v>
                </c:pt>
                <c:pt idx="941">
                  <c:v>41485</c:v>
                </c:pt>
                <c:pt idx="942">
                  <c:v>41486</c:v>
                </c:pt>
                <c:pt idx="943">
                  <c:v>41487</c:v>
                </c:pt>
                <c:pt idx="944">
                  <c:v>41488</c:v>
                </c:pt>
                <c:pt idx="945">
                  <c:v>41491</c:v>
                </c:pt>
                <c:pt idx="946">
                  <c:v>41492</c:v>
                </c:pt>
                <c:pt idx="947">
                  <c:v>41493</c:v>
                </c:pt>
                <c:pt idx="948">
                  <c:v>41494</c:v>
                </c:pt>
                <c:pt idx="949">
                  <c:v>41495</c:v>
                </c:pt>
                <c:pt idx="950">
                  <c:v>41498</c:v>
                </c:pt>
                <c:pt idx="951">
                  <c:v>41499</c:v>
                </c:pt>
                <c:pt idx="952">
                  <c:v>41500</c:v>
                </c:pt>
                <c:pt idx="953">
                  <c:v>41501</c:v>
                </c:pt>
                <c:pt idx="954">
                  <c:v>41502</c:v>
                </c:pt>
                <c:pt idx="955">
                  <c:v>41505</c:v>
                </c:pt>
                <c:pt idx="956">
                  <c:v>41506</c:v>
                </c:pt>
                <c:pt idx="957">
                  <c:v>41507</c:v>
                </c:pt>
                <c:pt idx="958">
                  <c:v>41508</c:v>
                </c:pt>
                <c:pt idx="959">
                  <c:v>41509</c:v>
                </c:pt>
                <c:pt idx="960">
                  <c:v>41512</c:v>
                </c:pt>
                <c:pt idx="961">
                  <c:v>41513</c:v>
                </c:pt>
                <c:pt idx="962">
                  <c:v>41514</c:v>
                </c:pt>
                <c:pt idx="963">
                  <c:v>41515</c:v>
                </c:pt>
                <c:pt idx="964">
                  <c:v>41516</c:v>
                </c:pt>
                <c:pt idx="965">
                  <c:v>41519</c:v>
                </c:pt>
                <c:pt idx="966">
                  <c:v>41520</c:v>
                </c:pt>
                <c:pt idx="967">
                  <c:v>41521</c:v>
                </c:pt>
                <c:pt idx="968">
                  <c:v>41522</c:v>
                </c:pt>
                <c:pt idx="969">
                  <c:v>41523</c:v>
                </c:pt>
                <c:pt idx="970">
                  <c:v>41526</c:v>
                </c:pt>
                <c:pt idx="971">
                  <c:v>41527</c:v>
                </c:pt>
                <c:pt idx="972">
                  <c:v>41528</c:v>
                </c:pt>
                <c:pt idx="973">
                  <c:v>41529</c:v>
                </c:pt>
                <c:pt idx="974">
                  <c:v>41530</c:v>
                </c:pt>
                <c:pt idx="975">
                  <c:v>41533</c:v>
                </c:pt>
                <c:pt idx="976">
                  <c:v>41534</c:v>
                </c:pt>
                <c:pt idx="977">
                  <c:v>41535</c:v>
                </c:pt>
                <c:pt idx="978">
                  <c:v>41536</c:v>
                </c:pt>
                <c:pt idx="979">
                  <c:v>41537</c:v>
                </c:pt>
                <c:pt idx="980">
                  <c:v>41540</c:v>
                </c:pt>
                <c:pt idx="981">
                  <c:v>41541</c:v>
                </c:pt>
                <c:pt idx="982">
                  <c:v>41542</c:v>
                </c:pt>
                <c:pt idx="983">
                  <c:v>41543</c:v>
                </c:pt>
                <c:pt idx="984">
                  <c:v>41544</c:v>
                </c:pt>
                <c:pt idx="985">
                  <c:v>41547</c:v>
                </c:pt>
                <c:pt idx="986">
                  <c:v>41548</c:v>
                </c:pt>
                <c:pt idx="987">
                  <c:v>41549</c:v>
                </c:pt>
                <c:pt idx="988">
                  <c:v>41550</c:v>
                </c:pt>
                <c:pt idx="989">
                  <c:v>41551</c:v>
                </c:pt>
                <c:pt idx="990">
                  <c:v>41554</c:v>
                </c:pt>
                <c:pt idx="991">
                  <c:v>41555</c:v>
                </c:pt>
                <c:pt idx="992">
                  <c:v>41556</c:v>
                </c:pt>
                <c:pt idx="993">
                  <c:v>41557</c:v>
                </c:pt>
                <c:pt idx="994">
                  <c:v>41558</c:v>
                </c:pt>
                <c:pt idx="995">
                  <c:v>41561</c:v>
                </c:pt>
                <c:pt idx="996">
                  <c:v>41562</c:v>
                </c:pt>
                <c:pt idx="997">
                  <c:v>41563</c:v>
                </c:pt>
                <c:pt idx="998">
                  <c:v>41564</c:v>
                </c:pt>
                <c:pt idx="999">
                  <c:v>41565</c:v>
                </c:pt>
                <c:pt idx="1000">
                  <c:v>41568</c:v>
                </c:pt>
                <c:pt idx="1001">
                  <c:v>41569</c:v>
                </c:pt>
                <c:pt idx="1002">
                  <c:v>41570</c:v>
                </c:pt>
                <c:pt idx="1003">
                  <c:v>41571</c:v>
                </c:pt>
                <c:pt idx="1004">
                  <c:v>41572</c:v>
                </c:pt>
                <c:pt idx="1005">
                  <c:v>41575</c:v>
                </c:pt>
                <c:pt idx="1006">
                  <c:v>41576</c:v>
                </c:pt>
                <c:pt idx="1007">
                  <c:v>41577</c:v>
                </c:pt>
                <c:pt idx="1008">
                  <c:v>41578</c:v>
                </c:pt>
                <c:pt idx="1009">
                  <c:v>41579</c:v>
                </c:pt>
                <c:pt idx="1010">
                  <c:v>41582</c:v>
                </c:pt>
                <c:pt idx="1011">
                  <c:v>41583</c:v>
                </c:pt>
                <c:pt idx="1012">
                  <c:v>41584</c:v>
                </c:pt>
                <c:pt idx="1013">
                  <c:v>41585</c:v>
                </c:pt>
                <c:pt idx="1014">
                  <c:v>41586</c:v>
                </c:pt>
                <c:pt idx="1015">
                  <c:v>41589</c:v>
                </c:pt>
                <c:pt idx="1016">
                  <c:v>41590</c:v>
                </c:pt>
                <c:pt idx="1017">
                  <c:v>41591</c:v>
                </c:pt>
                <c:pt idx="1018">
                  <c:v>41592</c:v>
                </c:pt>
                <c:pt idx="1019">
                  <c:v>41593</c:v>
                </c:pt>
                <c:pt idx="1020">
                  <c:v>41596</c:v>
                </c:pt>
                <c:pt idx="1021">
                  <c:v>41597</c:v>
                </c:pt>
                <c:pt idx="1022">
                  <c:v>41598</c:v>
                </c:pt>
                <c:pt idx="1023">
                  <c:v>41599</c:v>
                </c:pt>
                <c:pt idx="1024">
                  <c:v>41600</c:v>
                </c:pt>
                <c:pt idx="1025">
                  <c:v>41603</c:v>
                </c:pt>
                <c:pt idx="1026">
                  <c:v>41604</c:v>
                </c:pt>
                <c:pt idx="1027">
                  <c:v>41605</c:v>
                </c:pt>
                <c:pt idx="1028">
                  <c:v>41606</c:v>
                </c:pt>
                <c:pt idx="1029">
                  <c:v>41607</c:v>
                </c:pt>
                <c:pt idx="1030">
                  <c:v>41610</c:v>
                </c:pt>
                <c:pt idx="1031">
                  <c:v>41611</c:v>
                </c:pt>
                <c:pt idx="1032">
                  <c:v>41612</c:v>
                </c:pt>
                <c:pt idx="1033">
                  <c:v>41613</c:v>
                </c:pt>
                <c:pt idx="1034">
                  <c:v>41614</c:v>
                </c:pt>
                <c:pt idx="1035">
                  <c:v>41617</c:v>
                </c:pt>
                <c:pt idx="1036">
                  <c:v>41618</c:v>
                </c:pt>
                <c:pt idx="1037">
                  <c:v>41619</c:v>
                </c:pt>
                <c:pt idx="1038">
                  <c:v>41620</c:v>
                </c:pt>
                <c:pt idx="1039">
                  <c:v>41621</c:v>
                </c:pt>
                <c:pt idx="1040">
                  <c:v>41624</c:v>
                </c:pt>
                <c:pt idx="1041">
                  <c:v>41625</c:v>
                </c:pt>
                <c:pt idx="1042">
                  <c:v>41626</c:v>
                </c:pt>
                <c:pt idx="1043">
                  <c:v>41627</c:v>
                </c:pt>
                <c:pt idx="1044">
                  <c:v>41628</c:v>
                </c:pt>
                <c:pt idx="1045">
                  <c:v>41631</c:v>
                </c:pt>
                <c:pt idx="1046">
                  <c:v>41632</c:v>
                </c:pt>
                <c:pt idx="1047">
                  <c:v>41635</c:v>
                </c:pt>
                <c:pt idx="1048">
                  <c:v>41638</c:v>
                </c:pt>
                <c:pt idx="1049">
                  <c:v>41639</c:v>
                </c:pt>
                <c:pt idx="1050">
                  <c:v>41641</c:v>
                </c:pt>
                <c:pt idx="1051">
                  <c:v>41642</c:v>
                </c:pt>
                <c:pt idx="1052">
                  <c:v>41645</c:v>
                </c:pt>
                <c:pt idx="1053">
                  <c:v>41646</c:v>
                </c:pt>
                <c:pt idx="1054">
                  <c:v>41647</c:v>
                </c:pt>
                <c:pt idx="1055">
                  <c:v>41648</c:v>
                </c:pt>
                <c:pt idx="1056">
                  <c:v>41649</c:v>
                </c:pt>
                <c:pt idx="1057">
                  <c:v>41652</c:v>
                </c:pt>
                <c:pt idx="1058">
                  <c:v>41653</c:v>
                </c:pt>
                <c:pt idx="1059">
                  <c:v>41654</c:v>
                </c:pt>
                <c:pt idx="1060">
                  <c:v>41655</c:v>
                </c:pt>
                <c:pt idx="1061">
                  <c:v>41656</c:v>
                </c:pt>
                <c:pt idx="1062">
                  <c:v>41659</c:v>
                </c:pt>
                <c:pt idx="1063">
                  <c:v>41660</c:v>
                </c:pt>
                <c:pt idx="1064">
                  <c:v>41661</c:v>
                </c:pt>
                <c:pt idx="1065">
                  <c:v>41662</c:v>
                </c:pt>
                <c:pt idx="1066">
                  <c:v>41663</c:v>
                </c:pt>
                <c:pt idx="1067">
                  <c:v>41666</c:v>
                </c:pt>
                <c:pt idx="1068">
                  <c:v>41667</c:v>
                </c:pt>
                <c:pt idx="1069">
                  <c:v>41668</c:v>
                </c:pt>
                <c:pt idx="1070">
                  <c:v>41669</c:v>
                </c:pt>
                <c:pt idx="1071">
                  <c:v>41670</c:v>
                </c:pt>
                <c:pt idx="1072">
                  <c:v>41673</c:v>
                </c:pt>
                <c:pt idx="1073">
                  <c:v>41674</c:v>
                </c:pt>
                <c:pt idx="1074">
                  <c:v>41675</c:v>
                </c:pt>
                <c:pt idx="1075">
                  <c:v>41676</c:v>
                </c:pt>
                <c:pt idx="1076">
                  <c:v>41677</c:v>
                </c:pt>
                <c:pt idx="1077">
                  <c:v>41680</c:v>
                </c:pt>
                <c:pt idx="1078">
                  <c:v>41681</c:v>
                </c:pt>
                <c:pt idx="1079">
                  <c:v>41682</c:v>
                </c:pt>
                <c:pt idx="1080">
                  <c:v>41683</c:v>
                </c:pt>
                <c:pt idx="1081">
                  <c:v>41684</c:v>
                </c:pt>
                <c:pt idx="1082">
                  <c:v>41687</c:v>
                </c:pt>
                <c:pt idx="1083">
                  <c:v>41688</c:v>
                </c:pt>
                <c:pt idx="1084">
                  <c:v>41689</c:v>
                </c:pt>
                <c:pt idx="1085">
                  <c:v>41690</c:v>
                </c:pt>
                <c:pt idx="1086">
                  <c:v>41691</c:v>
                </c:pt>
                <c:pt idx="1087">
                  <c:v>41694</c:v>
                </c:pt>
                <c:pt idx="1088">
                  <c:v>41695</c:v>
                </c:pt>
                <c:pt idx="1089">
                  <c:v>41696</c:v>
                </c:pt>
                <c:pt idx="1090">
                  <c:v>41697</c:v>
                </c:pt>
                <c:pt idx="1091">
                  <c:v>41698</c:v>
                </c:pt>
                <c:pt idx="1092">
                  <c:v>41701</c:v>
                </c:pt>
                <c:pt idx="1093">
                  <c:v>41702</c:v>
                </c:pt>
                <c:pt idx="1094">
                  <c:v>41703</c:v>
                </c:pt>
                <c:pt idx="1095">
                  <c:v>41704</c:v>
                </c:pt>
                <c:pt idx="1096">
                  <c:v>41705</c:v>
                </c:pt>
                <c:pt idx="1097">
                  <c:v>41708</c:v>
                </c:pt>
                <c:pt idx="1098">
                  <c:v>41709</c:v>
                </c:pt>
                <c:pt idx="1099">
                  <c:v>41710</c:v>
                </c:pt>
                <c:pt idx="1100">
                  <c:v>41711</c:v>
                </c:pt>
                <c:pt idx="1101">
                  <c:v>41712</c:v>
                </c:pt>
                <c:pt idx="1102">
                  <c:v>41715</c:v>
                </c:pt>
                <c:pt idx="1103">
                  <c:v>41716</c:v>
                </c:pt>
                <c:pt idx="1104">
                  <c:v>41717</c:v>
                </c:pt>
                <c:pt idx="1105">
                  <c:v>41718</c:v>
                </c:pt>
                <c:pt idx="1106">
                  <c:v>41719</c:v>
                </c:pt>
                <c:pt idx="1107">
                  <c:v>41722</c:v>
                </c:pt>
                <c:pt idx="1108">
                  <c:v>41723</c:v>
                </c:pt>
                <c:pt idx="1109">
                  <c:v>41724</c:v>
                </c:pt>
                <c:pt idx="1110">
                  <c:v>41725</c:v>
                </c:pt>
                <c:pt idx="1111">
                  <c:v>41726</c:v>
                </c:pt>
                <c:pt idx="1112">
                  <c:v>41729</c:v>
                </c:pt>
                <c:pt idx="1113">
                  <c:v>41730</c:v>
                </c:pt>
                <c:pt idx="1114">
                  <c:v>41731</c:v>
                </c:pt>
                <c:pt idx="1115">
                  <c:v>41732</c:v>
                </c:pt>
                <c:pt idx="1116">
                  <c:v>41733</c:v>
                </c:pt>
                <c:pt idx="1117">
                  <c:v>41736</c:v>
                </c:pt>
                <c:pt idx="1118">
                  <c:v>41737</c:v>
                </c:pt>
                <c:pt idx="1119">
                  <c:v>41738</c:v>
                </c:pt>
                <c:pt idx="1120">
                  <c:v>41739</c:v>
                </c:pt>
                <c:pt idx="1121">
                  <c:v>41740</c:v>
                </c:pt>
                <c:pt idx="1122">
                  <c:v>41743</c:v>
                </c:pt>
                <c:pt idx="1123">
                  <c:v>41744</c:v>
                </c:pt>
                <c:pt idx="1124">
                  <c:v>41745</c:v>
                </c:pt>
                <c:pt idx="1125">
                  <c:v>41746</c:v>
                </c:pt>
                <c:pt idx="1126">
                  <c:v>41751</c:v>
                </c:pt>
                <c:pt idx="1127">
                  <c:v>41752</c:v>
                </c:pt>
                <c:pt idx="1128">
                  <c:v>41753</c:v>
                </c:pt>
                <c:pt idx="1129">
                  <c:v>41754</c:v>
                </c:pt>
                <c:pt idx="1130">
                  <c:v>41757</c:v>
                </c:pt>
                <c:pt idx="1131">
                  <c:v>41758</c:v>
                </c:pt>
                <c:pt idx="1132">
                  <c:v>41759</c:v>
                </c:pt>
                <c:pt idx="1133">
                  <c:v>41760</c:v>
                </c:pt>
                <c:pt idx="1134">
                  <c:v>41761</c:v>
                </c:pt>
                <c:pt idx="1135">
                  <c:v>41764</c:v>
                </c:pt>
                <c:pt idx="1136">
                  <c:v>41765</c:v>
                </c:pt>
                <c:pt idx="1137">
                  <c:v>41766</c:v>
                </c:pt>
                <c:pt idx="1138">
                  <c:v>41767</c:v>
                </c:pt>
                <c:pt idx="1139">
                  <c:v>41768</c:v>
                </c:pt>
                <c:pt idx="1140">
                  <c:v>41771</c:v>
                </c:pt>
                <c:pt idx="1141">
                  <c:v>41772</c:v>
                </c:pt>
                <c:pt idx="1142">
                  <c:v>41773</c:v>
                </c:pt>
                <c:pt idx="1143">
                  <c:v>41774</c:v>
                </c:pt>
                <c:pt idx="1144">
                  <c:v>41775</c:v>
                </c:pt>
                <c:pt idx="1145">
                  <c:v>41778</c:v>
                </c:pt>
                <c:pt idx="1146">
                  <c:v>41779</c:v>
                </c:pt>
                <c:pt idx="1147">
                  <c:v>41780</c:v>
                </c:pt>
                <c:pt idx="1148">
                  <c:v>41781</c:v>
                </c:pt>
                <c:pt idx="1149">
                  <c:v>41782</c:v>
                </c:pt>
                <c:pt idx="1150">
                  <c:v>41785</c:v>
                </c:pt>
                <c:pt idx="1151">
                  <c:v>41786</c:v>
                </c:pt>
                <c:pt idx="1152">
                  <c:v>41787</c:v>
                </c:pt>
                <c:pt idx="1153">
                  <c:v>41788</c:v>
                </c:pt>
                <c:pt idx="1154">
                  <c:v>41789</c:v>
                </c:pt>
                <c:pt idx="1155">
                  <c:v>41792</c:v>
                </c:pt>
                <c:pt idx="1156">
                  <c:v>41793</c:v>
                </c:pt>
                <c:pt idx="1157">
                  <c:v>41794</c:v>
                </c:pt>
                <c:pt idx="1158">
                  <c:v>41795</c:v>
                </c:pt>
                <c:pt idx="1159">
                  <c:v>41796</c:v>
                </c:pt>
                <c:pt idx="1160">
                  <c:v>41799</c:v>
                </c:pt>
                <c:pt idx="1161">
                  <c:v>41800</c:v>
                </c:pt>
                <c:pt idx="1162">
                  <c:v>41801</c:v>
                </c:pt>
                <c:pt idx="1163">
                  <c:v>41802</c:v>
                </c:pt>
                <c:pt idx="1164">
                  <c:v>41803</c:v>
                </c:pt>
                <c:pt idx="1165">
                  <c:v>41806</c:v>
                </c:pt>
                <c:pt idx="1166">
                  <c:v>41807</c:v>
                </c:pt>
                <c:pt idx="1167">
                  <c:v>41808</c:v>
                </c:pt>
                <c:pt idx="1168">
                  <c:v>41809</c:v>
                </c:pt>
                <c:pt idx="1169">
                  <c:v>41810</c:v>
                </c:pt>
                <c:pt idx="1170">
                  <c:v>41813</c:v>
                </c:pt>
                <c:pt idx="1171">
                  <c:v>41814</c:v>
                </c:pt>
                <c:pt idx="1172">
                  <c:v>41815</c:v>
                </c:pt>
                <c:pt idx="1173">
                  <c:v>41816</c:v>
                </c:pt>
                <c:pt idx="1174">
                  <c:v>41817</c:v>
                </c:pt>
                <c:pt idx="1175">
                  <c:v>41820</c:v>
                </c:pt>
                <c:pt idx="1176">
                  <c:v>41821</c:v>
                </c:pt>
                <c:pt idx="1177">
                  <c:v>41822</c:v>
                </c:pt>
                <c:pt idx="1178">
                  <c:v>41823</c:v>
                </c:pt>
                <c:pt idx="1179">
                  <c:v>41824</c:v>
                </c:pt>
                <c:pt idx="1180">
                  <c:v>41827</c:v>
                </c:pt>
                <c:pt idx="1181">
                  <c:v>41828</c:v>
                </c:pt>
                <c:pt idx="1182">
                  <c:v>41829</c:v>
                </c:pt>
                <c:pt idx="1183">
                  <c:v>41830</c:v>
                </c:pt>
                <c:pt idx="1184">
                  <c:v>41831</c:v>
                </c:pt>
                <c:pt idx="1185">
                  <c:v>41834</c:v>
                </c:pt>
                <c:pt idx="1186">
                  <c:v>41835</c:v>
                </c:pt>
                <c:pt idx="1187">
                  <c:v>41836</c:v>
                </c:pt>
                <c:pt idx="1188">
                  <c:v>41837</c:v>
                </c:pt>
                <c:pt idx="1189">
                  <c:v>41838</c:v>
                </c:pt>
                <c:pt idx="1190">
                  <c:v>41841</c:v>
                </c:pt>
                <c:pt idx="1191">
                  <c:v>41842</c:v>
                </c:pt>
                <c:pt idx="1192">
                  <c:v>41843</c:v>
                </c:pt>
                <c:pt idx="1193">
                  <c:v>41844</c:v>
                </c:pt>
                <c:pt idx="1194">
                  <c:v>41845</c:v>
                </c:pt>
                <c:pt idx="1195">
                  <c:v>41848</c:v>
                </c:pt>
                <c:pt idx="1196">
                  <c:v>41849</c:v>
                </c:pt>
                <c:pt idx="1197">
                  <c:v>41850</c:v>
                </c:pt>
                <c:pt idx="1198">
                  <c:v>41851</c:v>
                </c:pt>
                <c:pt idx="1199">
                  <c:v>41852</c:v>
                </c:pt>
                <c:pt idx="1200">
                  <c:v>41855</c:v>
                </c:pt>
                <c:pt idx="1201">
                  <c:v>41856</c:v>
                </c:pt>
                <c:pt idx="1202">
                  <c:v>41857</c:v>
                </c:pt>
                <c:pt idx="1203">
                  <c:v>41858</c:v>
                </c:pt>
                <c:pt idx="1204">
                  <c:v>41859</c:v>
                </c:pt>
                <c:pt idx="1205">
                  <c:v>41862</c:v>
                </c:pt>
                <c:pt idx="1206">
                  <c:v>41863</c:v>
                </c:pt>
                <c:pt idx="1207">
                  <c:v>41864</c:v>
                </c:pt>
                <c:pt idx="1208">
                  <c:v>41865</c:v>
                </c:pt>
                <c:pt idx="1209">
                  <c:v>41866</c:v>
                </c:pt>
                <c:pt idx="1210">
                  <c:v>41869</c:v>
                </c:pt>
                <c:pt idx="1211">
                  <c:v>41870</c:v>
                </c:pt>
                <c:pt idx="1212">
                  <c:v>41871</c:v>
                </c:pt>
                <c:pt idx="1213">
                  <c:v>41872</c:v>
                </c:pt>
                <c:pt idx="1214">
                  <c:v>41873</c:v>
                </c:pt>
                <c:pt idx="1215">
                  <c:v>41876</c:v>
                </c:pt>
                <c:pt idx="1216">
                  <c:v>41877</c:v>
                </c:pt>
                <c:pt idx="1217">
                  <c:v>41878</c:v>
                </c:pt>
                <c:pt idx="1218">
                  <c:v>41879</c:v>
                </c:pt>
                <c:pt idx="1219">
                  <c:v>41880</c:v>
                </c:pt>
                <c:pt idx="1220">
                  <c:v>41883</c:v>
                </c:pt>
                <c:pt idx="1221">
                  <c:v>41884</c:v>
                </c:pt>
                <c:pt idx="1222">
                  <c:v>41885</c:v>
                </c:pt>
                <c:pt idx="1223">
                  <c:v>41886</c:v>
                </c:pt>
                <c:pt idx="1224">
                  <c:v>41887</c:v>
                </c:pt>
                <c:pt idx="1225">
                  <c:v>41890</c:v>
                </c:pt>
                <c:pt idx="1226">
                  <c:v>41891</c:v>
                </c:pt>
                <c:pt idx="1227">
                  <c:v>41892</c:v>
                </c:pt>
                <c:pt idx="1228">
                  <c:v>41893</c:v>
                </c:pt>
                <c:pt idx="1229">
                  <c:v>41894</c:v>
                </c:pt>
                <c:pt idx="1230">
                  <c:v>41897</c:v>
                </c:pt>
                <c:pt idx="1231">
                  <c:v>41898</c:v>
                </c:pt>
                <c:pt idx="1232">
                  <c:v>41899</c:v>
                </c:pt>
                <c:pt idx="1233">
                  <c:v>41900</c:v>
                </c:pt>
                <c:pt idx="1234">
                  <c:v>41901</c:v>
                </c:pt>
                <c:pt idx="1235">
                  <c:v>41904</c:v>
                </c:pt>
                <c:pt idx="1236">
                  <c:v>41905</c:v>
                </c:pt>
                <c:pt idx="1237">
                  <c:v>41906</c:v>
                </c:pt>
                <c:pt idx="1238">
                  <c:v>41907</c:v>
                </c:pt>
                <c:pt idx="1239">
                  <c:v>41908</c:v>
                </c:pt>
                <c:pt idx="1240">
                  <c:v>41911</c:v>
                </c:pt>
                <c:pt idx="1241">
                  <c:v>41912</c:v>
                </c:pt>
                <c:pt idx="1242">
                  <c:v>41913</c:v>
                </c:pt>
                <c:pt idx="1243">
                  <c:v>41914</c:v>
                </c:pt>
                <c:pt idx="1244">
                  <c:v>41915</c:v>
                </c:pt>
                <c:pt idx="1245">
                  <c:v>41918</c:v>
                </c:pt>
              </c:numCache>
            </c:numRef>
          </c:cat>
          <c:val>
            <c:numRef>
              <c:f>Sheet1!$D$2:$D$1247</c:f>
              <c:numCache>
                <c:formatCode>General</c:formatCode>
                <c:ptCount val="1246"/>
              </c:numCache>
            </c:numRef>
          </c:val>
          <c:smooth val="0"/>
        </c:ser>
        <c:dLbls>
          <c:showLegendKey val="0"/>
          <c:showVal val="0"/>
          <c:showCatName val="0"/>
          <c:showSerName val="0"/>
          <c:showPercent val="0"/>
          <c:showBubbleSize val="0"/>
        </c:dLbls>
        <c:marker val="1"/>
        <c:smooth val="0"/>
        <c:axId val="35948416"/>
        <c:axId val="35949952"/>
      </c:lineChart>
      <c:dateAx>
        <c:axId val="35948416"/>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35949952"/>
        <c:crosses val="autoZero"/>
        <c:auto val="1"/>
        <c:lblOffset val="100"/>
        <c:baseTimeUnit val="days"/>
      </c:dateAx>
      <c:valAx>
        <c:axId val="35949952"/>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35948416"/>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9</c:f>
              <c:strCache>
                <c:ptCount val="8"/>
                <c:pt idx="0">
                  <c:v>Basic Materials</c:v>
                </c:pt>
                <c:pt idx="1">
                  <c:v>Oil &amp; Gas</c:v>
                </c:pt>
                <c:pt idx="2">
                  <c:v>Consumer Goods</c:v>
                </c:pt>
                <c:pt idx="3">
                  <c:v>Consumer Services</c:v>
                </c:pt>
                <c:pt idx="4">
                  <c:v>Industrials</c:v>
                </c:pt>
                <c:pt idx="5">
                  <c:v>Telecommunications</c:v>
                </c:pt>
                <c:pt idx="6">
                  <c:v>Utilities</c:v>
                </c:pt>
                <c:pt idx="7">
                  <c:v>Financials</c:v>
                </c:pt>
              </c:strCache>
            </c:strRef>
          </c:cat>
          <c:val>
            <c:numRef>
              <c:f>Sheet1!$B$2:$B$9</c:f>
              <c:numCache>
                <c:formatCode>0.00%</c:formatCode>
                <c:ptCount val="8"/>
                <c:pt idx="0">
                  <c:v>1.92464E-2</c:v>
                </c:pt>
                <c:pt idx="1">
                  <c:v>6.8727999999999997E-2</c:v>
                </c:pt>
                <c:pt idx="2">
                  <c:v>6.9424400000000011E-2</c:v>
                </c:pt>
                <c:pt idx="3">
                  <c:v>0.12609419999999999</c:v>
                </c:pt>
                <c:pt idx="4">
                  <c:v>0.1315848</c:v>
                </c:pt>
                <c:pt idx="5">
                  <c:v>0.1537557</c:v>
                </c:pt>
                <c:pt idx="6">
                  <c:v>0.1784046</c:v>
                </c:pt>
                <c:pt idx="7">
                  <c:v>0.25276169999999998</c:v>
                </c:pt>
              </c:numCache>
            </c:numRef>
          </c:val>
        </c:ser>
        <c:dLbls>
          <c:showLegendKey val="0"/>
          <c:showVal val="0"/>
          <c:showCatName val="0"/>
          <c:showSerName val="0"/>
          <c:showPercent val="0"/>
          <c:showBubbleSize val="0"/>
        </c:dLbls>
        <c:gapWidth val="150"/>
        <c:axId val="35556352"/>
        <c:axId val="35948032"/>
      </c:barChart>
      <c:catAx>
        <c:axId val="35556352"/>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35948032"/>
        <c:crosses val="autoZero"/>
        <c:auto val="1"/>
        <c:lblAlgn val="ctr"/>
        <c:lblOffset val="100"/>
        <c:noMultiLvlLbl val="0"/>
      </c:catAx>
      <c:valAx>
        <c:axId val="35948032"/>
        <c:scaling>
          <c:orientation val="minMax"/>
        </c:scaling>
        <c:delete val="1"/>
        <c:axPos val="b"/>
        <c:numFmt formatCode="0.00%" sourceLinked="1"/>
        <c:majorTickMark val="out"/>
        <c:minorTickMark val="none"/>
        <c:tickLblPos val="nextTo"/>
        <c:crossAx val="35556352"/>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9</c:f>
              <c:strCache>
                <c:ptCount val="8"/>
                <c:pt idx="0">
                  <c:v>Portugal</c:v>
                </c:pt>
                <c:pt idx="1">
                  <c:v>Spain</c:v>
                </c:pt>
                <c:pt idx="2">
                  <c:v>Netherlands</c:v>
                </c:pt>
                <c:pt idx="3">
                  <c:v>Belgium</c:v>
                </c:pt>
                <c:pt idx="4">
                  <c:v>Finland</c:v>
                </c:pt>
                <c:pt idx="5">
                  <c:v>Italy</c:v>
                </c:pt>
                <c:pt idx="6">
                  <c:v>Germany</c:v>
                </c:pt>
                <c:pt idx="7">
                  <c:v>France</c:v>
                </c:pt>
              </c:strCache>
            </c:strRef>
          </c:cat>
          <c:val>
            <c:numRef>
              <c:f>Sheet1!$B$2:$B$9</c:f>
              <c:numCache>
                <c:formatCode>0.00%</c:formatCode>
                <c:ptCount val="8"/>
                <c:pt idx="0">
                  <c:v>3.7944600000000002E-2</c:v>
                </c:pt>
                <c:pt idx="1">
                  <c:v>6.8738300000000002E-2</c:v>
                </c:pt>
                <c:pt idx="2">
                  <c:v>8.6779500000000009E-2</c:v>
                </c:pt>
                <c:pt idx="3">
                  <c:v>9.1400000000000009E-2</c:v>
                </c:pt>
                <c:pt idx="4">
                  <c:v>0.1110891</c:v>
                </c:pt>
                <c:pt idx="5">
                  <c:v>0.11279969999999999</c:v>
                </c:pt>
                <c:pt idx="6">
                  <c:v>0.24441219999999997</c:v>
                </c:pt>
                <c:pt idx="7">
                  <c:v>0.24683639999999996</c:v>
                </c:pt>
              </c:numCache>
            </c:numRef>
          </c:val>
        </c:ser>
        <c:dLbls>
          <c:showLegendKey val="0"/>
          <c:showVal val="0"/>
          <c:showCatName val="0"/>
          <c:showSerName val="0"/>
          <c:showPercent val="0"/>
          <c:showBubbleSize val="0"/>
        </c:dLbls>
        <c:gapWidth val="150"/>
        <c:axId val="34097024"/>
        <c:axId val="34098560"/>
      </c:barChart>
      <c:catAx>
        <c:axId val="34097024"/>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34098560"/>
        <c:crosses val="autoZero"/>
        <c:auto val="1"/>
        <c:lblAlgn val="ctr"/>
        <c:lblOffset val="100"/>
        <c:noMultiLvlLbl val="0"/>
      </c:catAx>
      <c:valAx>
        <c:axId val="34098560"/>
        <c:scaling>
          <c:orientation val="minMax"/>
        </c:scaling>
        <c:delete val="1"/>
        <c:axPos val="b"/>
        <c:numFmt formatCode="0.00%" sourceLinked="1"/>
        <c:majorTickMark val="out"/>
        <c:minorTickMark val="none"/>
        <c:tickLblPos val="nextTo"/>
        <c:crossAx val="34097024"/>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23.12.2014</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solidFill>
                  <a:prstClr val="black"/>
                </a:solidFill>
              </a:rPr>
              <a:pPr/>
              <a:t>3</a:t>
            </a:fld>
            <a:endParaRPr lang="de-DE" dirty="0" smtClean="0">
              <a:solidFill>
                <a:prstClr val="black"/>
              </a:solidFill>
            </a:endParaRPr>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1</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1</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88.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117" Type="http://schemas.openxmlformats.org/officeDocument/2006/relationships/tags" Target="../tags/tag122.xml"/><Relationship Id="rId299" Type="http://schemas.openxmlformats.org/officeDocument/2006/relationships/tags" Target="../tags/tag304.xml"/><Relationship Id="rId303" Type="http://schemas.openxmlformats.org/officeDocument/2006/relationships/tags" Target="../tags/tag308.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324" Type="http://schemas.openxmlformats.org/officeDocument/2006/relationships/tags" Target="../tags/tag329.xml"/><Relationship Id="rId345" Type="http://schemas.openxmlformats.org/officeDocument/2006/relationships/tags" Target="../tags/tag350.xml"/><Relationship Id="rId366" Type="http://schemas.openxmlformats.org/officeDocument/2006/relationships/tags" Target="../tags/tag371.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268" Type="http://schemas.openxmlformats.org/officeDocument/2006/relationships/tags" Target="../tags/tag273.xml"/><Relationship Id="rId289" Type="http://schemas.openxmlformats.org/officeDocument/2006/relationships/tags" Target="../tags/tag294.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314" Type="http://schemas.openxmlformats.org/officeDocument/2006/relationships/tags" Target="../tags/tag319.xml"/><Relationship Id="rId335" Type="http://schemas.openxmlformats.org/officeDocument/2006/relationships/tags" Target="../tags/tag340.xml"/><Relationship Id="rId356" Type="http://schemas.openxmlformats.org/officeDocument/2006/relationships/tags" Target="../tags/tag361.xml"/><Relationship Id="rId377" Type="http://schemas.openxmlformats.org/officeDocument/2006/relationships/tags" Target="../tags/tag382.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79" Type="http://schemas.openxmlformats.org/officeDocument/2006/relationships/tags" Target="../tags/tag284.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290" Type="http://schemas.openxmlformats.org/officeDocument/2006/relationships/tags" Target="../tags/tag295.xml"/><Relationship Id="rId304" Type="http://schemas.openxmlformats.org/officeDocument/2006/relationships/tags" Target="../tags/tag309.xml"/><Relationship Id="rId325" Type="http://schemas.openxmlformats.org/officeDocument/2006/relationships/tags" Target="../tags/tag330.xml"/><Relationship Id="rId346" Type="http://schemas.openxmlformats.org/officeDocument/2006/relationships/tags" Target="../tags/tag351.xml"/><Relationship Id="rId367" Type="http://schemas.openxmlformats.org/officeDocument/2006/relationships/tags" Target="../tags/tag372.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269" Type="http://schemas.openxmlformats.org/officeDocument/2006/relationships/tags" Target="../tags/tag274.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280" Type="http://schemas.openxmlformats.org/officeDocument/2006/relationships/tags" Target="../tags/tag285.xml"/><Relationship Id="rId315" Type="http://schemas.openxmlformats.org/officeDocument/2006/relationships/tags" Target="../tags/tag320.xml"/><Relationship Id="rId336" Type="http://schemas.openxmlformats.org/officeDocument/2006/relationships/tags" Target="../tags/tag341.xml"/><Relationship Id="rId357" Type="http://schemas.openxmlformats.org/officeDocument/2006/relationships/tags" Target="../tags/tag362.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378" Type="http://schemas.openxmlformats.org/officeDocument/2006/relationships/tags" Target="../tags/tag383.xml"/><Relationship Id="rId6" Type="http://schemas.openxmlformats.org/officeDocument/2006/relationships/tags" Target="../tags/tag11.xml"/><Relationship Id="rId238" Type="http://schemas.openxmlformats.org/officeDocument/2006/relationships/tags" Target="../tags/tag243.xml"/><Relationship Id="rId259" Type="http://schemas.openxmlformats.org/officeDocument/2006/relationships/tags" Target="../tags/tag264.xml"/><Relationship Id="rId23" Type="http://schemas.openxmlformats.org/officeDocument/2006/relationships/tags" Target="../tags/tag28.xml"/><Relationship Id="rId119" Type="http://schemas.openxmlformats.org/officeDocument/2006/relationships/tags" Target="../tags/tag124.xml"/><Relationship Id="rId270" Type="http://schemas.openxmlformats.org/officeDocument/2006/relationships/tags" Target="../tags/tag275.xml"/><Relationship Id="rId291" Type="http://schemas.openxmlformats.org/officeDocument/2006/relationships/tags" Target="../tags/tag296.xml"/><Relationship Id="rId305" Type="http://schemas.openxmlformats.org/officeDocument/2006/relationships/tags" Target="../tags/tag310.xml"/><Relationship Id="rId326" Type="http://schemas.openxmlformats.org/officeDocument/2006/relationships/tags" Target="../tags/tag331.xml"/><Relationship Id="rId347" Type="http://schemas.openxmlformats.org/officeDocument/2006/relationships/tags" Target="../tags/tag352.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368" Type="http://schemas.openxmlformats.org/officeDocument/2006/relationships/tags" Target="../tags/tag373.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tags" Target="../tags/tag233.xml"/><Relationship Id="rId249" Type="http://schemas.openxmlformats.org/officeDocument/2006/relationships/tags" Target="../tags/tag254.xml"/><Relationship Id="rId13" Type="http://schemas.openxmlformats.org/officeDocument/2006/relationships/tags" Target="../tags/tag18.xml"/><Relationship Id="rId109" Type="http://schemas.openxmlformats.org/officeDocument/2006/relationships/tags" Target="../tags/tag114.xml"/><Relationship Id="rId260" Type="http://schemas.openxmlformats.org/officeDocument/2006/relationships/tags" Target="../tags/tag265.xml"/><Relationship Id="rId281" Type="http://schemas.openxmlformats.org/officeDocument/2006/relationships/tags" Target="../tags/tag286.xml"/><Relationship Id="rId316" Type="http://schemas.openxmlformats.org/officeDocument/2006/relationships/tags" Target="../tags/tag321.xml"/><Relationship Id="rId337" Type="http://schemas.openxmlformats.org/officeDocument/2006/relationships/tags" Target="../tags/tag342.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358" Type="http://schemas.openxmlformats.org/officeDocument/2006/relationships/tags" Target="../tags/tag363.xml"/><Relationship Id="rId379" Type="http://schemas.openxmlformats.org/officeDocument/2006/relationships/tags" Target="../tags/tag384.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39" Type="http://schemas.openxmlformats.org/officeDocument/2006/relationships/tags" Target="../tags/tag244.xml"/><Relationship Id="rId250" Type="http://schemas.openxmlformats.org/officeDocument/2006/relationships/tags" Target="../tags/tag255.xml"/><Relationship Id="rId271" Type="http://schemas.openxmlformats.org/officeDocument/2006/relationships/tags" Target="../tags/tag276.xml"/><Relationship Id="rId292" Type="http://schemas.openxmlformats.org/officeDocument/2006/relationships/tags" Target="../tags/tag297.xml"/><Relationship Id="rId306" Type="http://schemas.openxmlformats.org/officeDocument/2006/relationships/tags" Target="../tags/tag31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327" Type="http://schemas.openxmlformats.org/officeDocument/2006/relationships/tags" Target="../tags/tag332.xml"/><Relationship Id="rId348" Type="http://schemas.openxmlformats.org/officeDocument/2006/relationships/tags" Target="../tags/tag353.xml"/><Relationship Id="rId369" Type="http://schemas.openxmlformats.org/officeDocument/2006/relationships/tags" Target="../tags/tag374.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tags" Target="../tags/tag234.xml"/><Relationship Id="rId380" Type="http://schemas.openxmlformats.org/officeDocument/2006/relationships/tags" Target="../tags/tag385.xml"/><Relationship Id="rId240" Type="http://schemas.openxmlformats.org/officeDocument/2006/relationships/tags" Target="../tags/tag245.xml"/><Relationship Id="rId261" Type="http://schemas.openxmlformats.org/officeDocument/2006/relationships/tags" Target="../tags/tag266.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282" Type="http://schemas.openxmlformats.org/officeDocument/2006/relationships/tags" Target="../tags/tag287.xml"/><Relationship Id="rId317" Type="http://schemas.openxmlformats.org/officeDocument/2006/relationships/tags" Target="../tags/tag322.xml"/><Relationship Id="rId338" Type="http://schemas.openxmlformats.org/officeDocument/2006/relationships/tags" Target="../tags/tag343.xml"/><Relationship Id="rId359" Type="http://schemas.openxmlformats.org/officeDocument/2006/relationships/tags" Target="../tags/tag364.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70" Type="http://schemas.openxmlformats.org/officeDocument/2006/relationships/tags" Target="../tags/tag375.xml"/><Relationship Id="rId230" Type="http://schemas.openxmlformats.org/officeDocument/2006/relationships/tags" Target="../tags/tag235.xml"/><Relationship Id="rId251" Type="http://schemas.openxmlformats.org/officeDocument/2006/relationships/tags" Target="../tags/tag256.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272" Type="http://schemas.openxmlformats.org/officeDocument/2006/relationships/tags" Target="../tags/tag277.xml"/><Relationship Id="rId293" Type="http://schemas.openxmlformats.org/officeDocument/2006/relationships/tags" Target="../tags/tag298.xml"/><Relationship Id="rId307" Type="http://schemas.openxmlformats.org/officeDocument/2006/relationships/tags" Target="../tags/tag312.xml"/><Relationship Id="rId328" Type="http://schemas.openxmlformats.org/officeDocument/2006/relationships/tags" Target="../tags/tag333.xml"/><Relationship Id="rId349" Type="http://schemas.openxmlformats.org/officeDocument/2006/relationships/tags" Target="../tags/tag354.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95" Type="http://schemas.openxmlformats.org/officeDocument/2006/relationships/tags" Target="../tags/tag200.xml"/><Relationship Id="rId209" Type="http://schemas.openxmlformats.org/officeDocument/2006/relationships/tags" Target="../tags/tag214.xml"/><Relationship Id="rId360" Type="http://schemas.openxmlformats.org/officeDocument/2006/relationships/tags" Target="../tags/tag365.xml"/><Relationship Id="rId381" Type="http://schemas.openxmlformats.org/officeDocument/2006/relationships/tags" Target="../tags/tag386.xml"/><Relationship Id="rId220" Type="http://schemas.openxmlformats.org/officeDocument/2006/relationships/tags" Target="../tags/tag225.xml"/><Relationship Id="rId241" Type="http://schemas.openxmlformats.org/officeDocument/2006/relationships/tags" Target="../tags/tag246.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262" Type="http://schemas.openxmlformats.org/officeDocument/2006/relationships/tags" Target="../tags/tag267.xml"/><Relationship Id="rId283" Type="http://schemas.openxmlformats.org/officeDocument/2006/relationships/tags" Target="../tags/tag288.xml"/><Relationship Id="rId318" Type="http://schemas.openxmlformats.org/officeDocument/2006/relationships/tags" Target="../tags/tag323.xml"/><Relationship Id="rId339" Type="http://schemas.openxmlformats.org/officeDocument/2006/relationships/tags" Target="../tags/tag344.xml"/><Relationship Id="rId78" Type="http://schemas.openxmlformats.org/officeDocument/2006/relationships/tags" Target="../tags/tag83.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64" Type="http://schemas.openxmlformats.org/officeDocument/2006/relationships/tags" Target="../tags/tag169.xml"/><Relationship Id="rId185" Type="http://schemas.openxmlformats.org/officeDocument/2006/relationships/tags" Target="../tags/tag190.xml"/><Relationship Id="rId350" Type="http://schemas.openxmlformats.org/officeDocument/2006/relationships/tags" Target="../tags/tag355.xml"/><Relationship Id="rId371" Type="http://schemas.openxmlformats.org/officeDocument/2006/relationships/tags" Target="../tags/tag376.xml"/><Relationship Id="rId9" Type="http://schemas.openxmlformats.org/officeDocument/2006/relationships/tags" Target="../tags/tag14.xml"/><Relationship Id="rId210" Type="http://schemas.openxmlformats.org/officeDocument/2006/relationships/tags" Target="../tags/tag215.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273" Type="http://schemas.openxmlformats.org/officeDocument/2006/relationships/tags" Target="../tags/tag278.xml"/><Relationship Id="rId294" Type="http://schemas.openxmlformats.org/officeDocument/2006/relationships/tags" Target="../tags/tag299.xml"/><Relationship Id="rId308" Type="http://schemas.openxmlformats.org/officeDocument/2006/relationships/tags" Target="../tags/tag313.xml"/><Relationship Id="rId329" Type="http://schemas.openxmlformats.org/officeDocument/2006/relationships/tags" Target="../tags/tag334.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340" Type="http://schemas.openxmlformats.org/officeDocument/2006/relationships/tags" Target="../tags/tag345.xml"/><Relationship Id="rId361" Type="http://schemas.openxmlformats.org/officeDocument/2006/relationships/tags" Target="../tags/tag366.xml"/><Relationship Id="rId196" Type="http://schemas.openxmlformats.org/officeDocument/2006/relationships/tags" Target="../tags/tag201.xml"/><Relationship Id="rId200" Type="http://schemas.openxmlformats.org/officeDocument/2006/relationships/tags" Target="../tags/tag205.xml"/><Relationship Id="rId382" Type="http://schemas.openxmlformats.org/officeDocument/2006/relationships/slideLayout" Target="../slideLayouts/slideLayout67.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263" Type="http://schemas.openxmlformats.org/officeDocument/2006/relationships/tags" Target="../tags/tag268.xml"/><Relationship Id="rId284" Type="http://schemas.openxmlformats.org/officeDocument/2006/relationships/tags" Target="../tags/tag289.xml"/><Relationship Id="rId319" Type="http://schemas.openxmlformats.org/officeDocument/2006/relationships/tags" Target="../tags/tag324.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330" Type="http://schemas.openxmlformats.org/officeDocument/2006/relationships/tags" Target="../tags/tag335.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351" Type="http://schemas.openxmlformats.org/officeDocument/2006/relationships/tags" Target="../tags/tag356.xml"/><Relationship Id="rId372" Type="http://schemas.openxmlformats.org/officeDocument/2006/relationships/tags" Target="../tags/tag377.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4" Type="http://schemas.openxmlformats.org/officeDocument/2006/relationships/tags" Target="../tags/tag279.xml"/><Relationship Id="rId295" Type="http://schemas.openxmlformats.org/officeDocument/2006/relationships/tags" Target="../tags/tag300.xml"/><Relationship Id="rId309" Type="http://schemas.openxmlformats.org/officeDocument/2006/relationships/tags" Target="../tags/tag314.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320" Type="http://schemas.openxmlformats.org/officeDocument/2006/relationships/tags" Target="../tags/tag325.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341" Type="http://schemas.openxmlformats.org/officeDocument/2006/relationships/tags" Target="../tags/tag346.xml"/><Relationship Id="rId362" Type="http://schemas.openxmlformats.org/officeDocument/2006/relationships/tags" Target="../tags/tag367.xml"/><Relationship Id="rId383" Type="http://schemas.openxmlformats.org/officeDocument/2006/relationships/notesSlide" Target="../notesSlides/notesSlide3.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264" Type="http://schemas.openxmlformats.org/officeDocument/2006/relationships/tags" Target="../tags/tag269.xml"/><Relationship Id="rId285" Type="http://schemas.openxmlformats.org/officeDocument/2006/relationships/tags" Target="../tags/tag290.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310" Type="http://schemas.openxmlformats.org/officeDocument/2006/relationships/tags" Target="../tags/tag315.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331" Type="http://schemas.openxmlformats.org/officeDocument/2006/relationships/tags" Target="../tags/tag336.xml"/><Relationship Id="rId352" Type="http://schemas.openxmlformats.org/officeDocument/2006/relationships/tags" Target="../tags/tag357.xml"/><Relationship Id="rId373" Type="http://schemas.openxmlformats.org/officeDocument/2006/relationships/tags" Target="../tags/tag378.xml"/><Relationship Id="rId1" Type="http://schemas.openxmlformats.org/officeDocument/2006/relationships/tags" Target="../tags/tag6.xml"/><Relationship Id="rId212" Type="http://schemas.openxmlformats.org/officeDocument/2006/relationships/tags" Target="../tags/tag217.xml"/><Relationship Id="rId233" Type="http://schemas.openxmlformats.org/officeDocument/2006/relationships/tags" Target="../tags/tag238.xml"/><Relationship Id="rId254" Type="http://schemas.openxmlformats.org/officeDocument/2006/relationships/tags" Target="../tags/tag259.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275" Type="http://schemas.openxmlformats.org/officeDocument/2006/relationships/tags" Target="../tags/tag280.xml"/><Relationship Id="rId296" Type="http://schemas.openxmlformats.org/officeDocument/2006/relationships/tags" Target="../tags/tag301.xml"/><Relationship Id="rId300" Type="http://schemas.openxmlformats.org/officeDocument/2006/relationships/tags" Target="../tags/tag305.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321" Type="http://schemas.openxmlformats.org/officeDocument/2006/relationships/tags" Target="../tags/tag326.xml"/><Relationship Id="rId342" Type="http://schemas.openxmlformats.org/officeDocument/2006/relationships/tags" Target="../tags/tag347.xml"/><Relationship Id="rId363" Type="http://schemas.openxmlformats.org/officeDocument/2006/relationships/tags" Target="../tags/tag368.xml"/><Relationship Id="rId202" Type="http://schemas.openxmlformats.org/officeDocument/2006/relationships/tags" Target="../tags/tag207.xml"/><Relationship Id="rId223" Type="http://schemas.openxmlformats.org/officeDocument/2006/relationships/tags" Target="../tags/tag228.xml"/><Relationship Id="rId244" Type="http://schemas.openxmlformats.org/officeDocument/2006/relationships/tags" Target="../tags/tag249.xml"/><Relationship Id="rId18" Type="http://schemas.openxmlformats.org/officeDocument/2006/relationships/tags" Target="../tags/tag23.xml"/><Relationship Id="rId39" Type="http://schemas.openxmlformats.org/officeDocument/2006/relationships/tags" Target="../tags/tag44.xml"/><Relationship Id="rId265" Type="http://schemas.openxmlformats.org/officeDocument/2006/relationships/tags" Target="../tags/tag270.xml"/><Relationship Id="rId286" Type="http://schemas.openxmlformats.org/officeDocument/2006/relationships/tags" Target="../tags/tag291.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311" Type="http://schemas.openxmlformats.org/officeDocument/2006/relationships/tags" Target="../tags/tag316.xml"/><Relationship Id="rId332" Type="http://schemas.openxmlformats.org/officeDocument/2006/relationships/tags" Target="../tags/tag337.xml"/><Relationship Id="rId353" Type="http://schemas.openxmlformats.org/officeDocument/2006/relationships/tags" Target="../tags/tag358.xml"/><Relationship Id="rId374" Type="http://schemas.openxmlformats.org/officeDocument/2006/relationships/tags" Target="../tags/tag379.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34" Type="http://schemas.openxmlformats.org/officeDocument/2006/relationships/tags" Target="../tags/tag239.xml"/><Relationship Id="rId2" Type="http://schemas.openxmlformats.org/officeDocument/2006/relationships/tags" Target="../tags/tag7.xml"/><Relationship Id="rId29" Type="http://schemas.openxmlformats.org/officeDocument/2006/relationships/tags" Target="../tags/tag34.xml"/><Relationship Id="rId255" Type="http://schemas.openxmlformats.org/officeDocument/2006/relationships/tags" Target="../tags/tag260.xml"/><Relationship Id="rId276" Type="http://schemas.openxmlformats.org/officeDocument/2006/relationships/tags" Target="../tags/tag281.xml"/><Relationship Id="rId297" Type="http://schemas.openxmlformats.org/officeDocument/2006/relationships/tags" Target="../tags/tag302.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301" Type="http://schemas.openxmlformats.org/officeDocument/2006/relationships/tags" Target="../tags/tag306.xml"/><Relationship Id="rId322" Type="http://schemas.openxmlformats.org/officeDocument/2006/relationships/tags" Target="../tags/tag327.xml"/><Relationship Id="rId343" Type="http://schemas.openxmlformats.org/officeDocument/2006/relationships/tags" Target="../tags/tag348.xml"/><Relationship Id="rId364" Type="http://schemas.openxmlformats.org/officeDocument/2006/relationships/tags" Target="../tags/tag369.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245" Type="http://schemas.openxmlformats.org/officeDocument/2006/relationships/tags" Target="../tags/tag250.xml"/><Relationship Id="rId266" Type="http://schemas.openxmlformats.org/officeDocument/2006/relationships/tags" Target="../tags/tag271.xml"/><Relationship Id="rId287" Type="http://schemas.openxmlformats.org/officeDocument/2006/relationships/tags" Target="../tags/tag29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312" Type="http://schemas.openxmlformats.org/officeDocument/2006/relationships/tags" Target="../tags/tag317.xml"/><Relationship Id="rId333" Type="http://schemas.openxmlformats.org/officeDocument/2006/relationships/tags" Target="../tags/tag338.xml"/><Relationship Id="rId354" Type="http://schemas.openxmlformats.org/officeDocument/2006/relationships/tags" Target="../tags/tag359.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75" Type="http://schemas.openxmlformats.org/officeDocument/2006/relationships/tags" Target="../tags/tag380.xml"/><Relationship Id="rId3" Type="http://schemas.openxmlformats.org/officeDocument/2006/relationships/tags" Target="../tags/tag8.xml"/><Relationship Id="rId214" Type="http://schemas.openxmlformats.org/officeDocument/2006/relationships/tags" Target="../tags/tag219.xml"/><Relationship Id="rId235" Type="http://schemas.openxmlformats.org/officeDocument/2006/relationships/tags" Target="../tags/tag240.xml"/><Relationship Id="rId256" Type="http://schemas.openxmlformats.org/officeDocument/2006/relationships/tags" Target="../tags/tag261.xml"/><Relationship Id="rId277" Type="http://schemas.openxmlformats.org/officeDocument/2006/relationships/tags" Target="../tags/tag282.xml"/><Relationship Id="rId298" Type="http://schemas.openxmlformats.org/officeDocument/2006/relationships/tags" Target="../tags/tag303.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302" Type="http://schemas.openxmlformats.org/officeDocument/2006/relationships/tags" Target="../tags/tag307.xml"/><Relationship Id="rId323" Type="http://schemas.openxmlformats.org/officeDocument/2006/relationships/tags" Target="../tags/tag328.xml"/><Relationship Id="rId344" Type="http://schemas.openxmlformats.org/officeDocument/2006/relationships/tags" Target="../tags/tag349.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179" Type="http://schemas.openxmlformats.org/officeDocument/2006/relationships/tags" Target="../tags/tag184.xml"/><Relationship Id="rId365" Type="http://schemas.openxmlformats.org/officeDocument/2006/relationships/tags" Target="../tags/tag370.xml"/><Relationship Id="rId190" Type="http://schemas.openxmlformats.org/officeDocument/2006/relationships/tags" Target="../tags/tag195.xml"/><Relationship Id="rId204" Type="http://schemas.openxmlformats.org/officeDocument/2006/relationships/tags" Target="../tags/tag209.xml"/><Relationship Id="rId225" Type="http://schemas.openxmlformats.org/officeDocument/2006/relationships/tags" Target="../tags/tag230.xml"/><Relationship Id="rId246" Type="http://schemas.openxmlformats.org/officeDocument/2006/relationships/tags" Target="../tags/tag251.xml"/><Relationship Id="rId267" Type="http://schemas.openxmlformats.org/officeDocument/2006/relationships/tags" Target="../tags/tag272.xml"/><Relationship Id="rId288" Type="http://schemas.openxmlformats.org/officeDocument/2006/relationships/tags" Target="../tags/tag293.xml"/><Relationship Id="rId106" Type="http://schemas.openxmlformats.org/officeDocument/2006/relationships/tags" Target="../tags/tag111.xml"/><Relationship Id="rId127" Type="http://schemas.openxmlformats.org/officeDocument/2006/relationships/tags" Target="../tags/tag132.xml"/><Relationship Id="rId313" Type="http://schemas.openxmlformats.org/officeDocument/2006/relationships/tags" Target="../tags/tag318.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94" Type="http://schemas.openxmlformats.org/officeDocument/2006/relationships/tags" Target="../tags/tag99.xml"/><Relationship Id="rId148" Type="http://schemas.openxmlformats.org/officeDocument/2006/relationships/tags" Target="../tags/tag153.xml"/><Relationship Id="rId169" Type="http://schemas.openxmlformats.org/officeDocument/2006/relationships/tags" Target="../tags/tag174.xml"/><Relationship Id="rId334" Type="http://schemas.openxmlformats.org/officeDocument/2006/relationships/tags" Target="../tags/tag339.xml"/><Relationship Id="rId355" Type="http://schemas.openxmlformats.org/officeDocument/2006/relationships/tags" Target="../tags/tag360.xml"/><Relationship Id="rId376" Type="http://schemas.openxmlformats.org/officeDocument/2006/relationships/tags" Target="../tags/tag381.xml"/><Relationship Id="rId4" Type="http://schemas.openxmlformats.org/officeDocument/2006/relationships/tags" Target="../tags/tag9.xml"/><Relationship Id="rId180" Type="http://schemas.openxmlformats.org/officeDocument/2006/relationships/tags" Target="../tags/tag18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78" Type="http://schemas.openxmlformats.org/officeDocument/2006/relationships/tags" Target="../tags/tag2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December, 2014</a:t>
            </a:r>
            <a:endParaRPr lang="en-US" dirty="0"/>
          </a:p>
        </p:txBody>
      </p:sp>
      <p:sp>
        <p:nvSpPr>
          <p:cNvPr id="3" name="Title 2"/>
          <p:cNvSpPr>
            <a:spLocks noGrp="1"/>
          </p:cNvSpPr>
          <p:nvPr>
            <p:ph type="ctrTitle"/>
          </p:nvPr>
        </p:nvSpPr>
        <p:spPr/>
        <p:txBody>
          <a:bodyPr/>
          <a:lstStyle/>
          <a:p>
            <a:r>
              <a:rPr lang="en-US" dirty="0" smtClean="0"/>
              <a:t>EURO STOXX</a:t>
            </a:r>
            <a:r>
              <a:rPr lang="en-US" baseline="30000" dirty="0" smtClean="0"/>
              <a:t>®</a:t>
            </a:r>
            <a:r>
              <a:rPr lang="en-US" dirty="0" smtClean="0"/>
              <a:t> SELECT </a:t>
            </a:r>
            <a:r>
              <a:rPr lang="en-US" dirty="0" smtClean="0"/>
              <a:t>DIVIDEND 30 INDEX</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smtClean="0"/>
              <a:t>References</a:t>
            </a:r>
            <a:endParaRPr lang="en-US" baseline="30000" dirty="0" smtClean="0"/>
          </a:p>
        </p:txBody>
      </p:sp>
      <p:sp>
        <p:nvSpPr>
          <p:cNvPr id="28" name="TextBox 27"/>
          <p:cNvSpPr txBox="1"/>
          <p:nvPr/>
        </p:nvSpPr>
        <p:spPr>
          <a:xfrm>
            <a:off x="9307298" y="6487889"/>
            <a:ext cx="527957" cy="175433"/>
          </a:xfrm>
          <a:prstGeom prst="rect">
            <a:avLst/>
          </a:prstGeom>
          <a:solidFill>
            <a:schemeClr val="bg1"/>
          </a:solidFill>
        </p:spPr>
        <p:txBody>
          <a:bodyPr wrap="square" lIns="0" tIns="0" rIns="0" bIns="0" rtlCol="0">
            <a:spAutoFit/>
          </a:bodyPr>
          <a:lstStyle/>
          <a:p>
            <a:pPr algn="l">
              <a:lnSpc>
                <a:spcPct val="95000"/>
              </a:lnSpc>
            </a:pPr>
            <a:r>
              <a:rPr lang="en-US" sz="1200" b="0" dirty="0" smtClean="0"/>
              <a:t> </a:t>
            </a:r>
            <a:fld id="{9713B8C3-2C6E-429C-B53D-6800F49006AC}" type="slidenum">
              <a:rPr lang="en-US" sz="1200" b="0" smtClean="0"/>
              <a:pPr algn="l">
                <a:lnSpc>
                  <a:spcPct val="95000"/>
                </a:lnSpc>
              </a:pPr>
              <a:t>10</a:t>
            </a:fld>
            <a:endParaRPr lang="en-US" sz="1200" b="0" dirty="0" smtClean="0"/>
          </a:p>
        </p:txBody>
      </p:sp>
      <p:sp>
        <p:nvSpPr>
          <p:cNvPr id="2" name="Rectangle 2"/>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1" name="Rectangle 4"/>
          <p:cNvSpPr>
            <a:spLocks noChangeArrowheads="1"/>
          </p:cNvSpPr>
          <p:nvPr/>
        </p:nvSpPr>
        <p:spPr bwMode="auto">
          <a:xfrm>
            <a:off x="368300" y="1540760"/>
            <a:ext cx="9155113" cy="4062069"/>
          </a:xfrm>
          <a:prstGeom prst="rect">
            <a:avLst/>
          </a:prstGeom>
          <a:noFill/>
          <a:ln w="9525">
            <a:noFill/>
            <a:miter lim="800000"/>
            <a:headEnd/>
            <a:tailEnd/>
          </a:ln>
        </p:spPr>
        <p:txBody>
          <a:bodyPr wrap="square" lIns="0" tIns="36000" rIns="0" bIns="0">
            <a:spAutoFit/>
          </a:bodyPr>
          <a:lstStyle/>
          <a:p>
            <a:pPr marL="190500" lvl="1" indent="-188913">
              <a:lnSpc>
                <a:spcPct val="80000"/>
              </a:lnSpc>
              <a:spcBef>
                <a:spcPct val="0"/>
              </a:spcBef>
              <a:spcAft>
                <a:spcPts val="600"/>
              </a:spcAft>
              <a:buFont typeface="Arial" charset="0"/>
              <a:buChar char="»"/>
            </a:pPr>
            <a:r>
              <a:rPr lang="en-US" sz="1400" dirty="0" smtClean="0"/>
              <a:t>Campbell</a:t>
            </a:r>
            <a:r>
              <a:rPr lang="en-US" sz="1400" dirty="0"/>
              <a:t>, J. and R. Shiller, The Dividend-Price Ratio and Expectations of Future Dividends and Discount Factors, Review of Financial Studies, 1,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Campbell, J. and R. Shiller, Stock Prices, Earnings, and Expected Dividends, Journal of Finance, 43,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Dickson, Henry Chip, and Charles L. </a:t>
            </a:r>
            <a:r>
              <a:rPr lang="en-US" sz="1400" dirty="0" err="1"/>
              <a:t>Reinhard</a:t>
            </a:r>
            <a:r>
              <a:rPr lang="en-US" sz="1400" dirty="0"/>
              <a:t>, Dividend Yield Screens, </a:t>
            </a:r>
            <a:r>
              <a:rPr lang="en-US" sz="1400" dirty="0" smtClean="0"/>
              <a:t>Portfolio Strategy</a:t>
            </a:r>
            <a:r>
              <a:rPr lang="en-US" sz="1400" dirty="0"/>
              <a:t>, Lehman Brothers Equity Research, September 26, </a:t>
            </a:r>
            <a:r>
              <a:rPr lang="en-US" sz="1400" dirty="0" smtClean="0"/>
              <a:t>2005</a:t>
            </a:r>
            <a:endParaRPr lang="en-US" sz="1400" dirty="0"/>
          </a:p>
          <a:p>
            <a:pPr marL="190500" lvl="1" indent="-188913">
              <a:lnSpc>
                <a:spcPct val="80000"/>
              </a:lnSpc>
              <a:spcBef>
                <a:spcPct val="0"/>
              </a:spcBef>
              <a:spcAft>
                <a:spcPts val="600"/>
              </a:spcAft>
              <a:buFont typeface="Arial" charset="0"/>
              <a:buChar char="»"/>
            </a:pPr>
            <a:r>
              <a:rPr lang="en-US" sz="1400" dirty="0" err="1"/>
              <a:t>Dimson</a:t>
            </a:r>
            <a:r>
              <a:rPr lang="en-US" sz="1400" dirty="0"/>
              <a:t>, Elroy, Paul Marsh, and Mike Staunton, Triumph of the </a:t>
            </a:r>
            <a:r>
              <a:rPr lang="en-US" sz="1400" dirty="0" smtClean="0"/>
              <a:t>Optimists, Princeton </a:t>
            </a:r>
            <a:r>
              <a:rPr lang="en-US" sz="1400" dirty="0"/>
              <a:t>University Press, </a:t>
            </a:r>
            <a:r>
              <a:rPr lang="en-US" sz="1400" dirty="0" smtClean="0"/>
              <a:t>2002</a:t>
            </a:r>
          </a:p>
          <a:p>
            <a:pPr marL="190500" lvl="1" indent="-188913">
              <a:lnSpc>
                <a:spcPct val="80000"/>
              </a:lnSpc>
              <a:spcBef>
                <a:spcPct val="0"/>
              </a:spcBef>
              <a:spcAft>
                <a:spcPts val="600"/>
              </a:spcAft>
              <a:buFont typeface="Arial" charset="0"/>
              <a:buChar char="»"/>
            </a:pPr>
            <a:r>
              <a:rPr lang="en-US" sz="1400" dirty="0" smtClean="0"/>
              <a:t>Graham</a:t>
            </a:r>
            <a:r>
              <a:rPr lang="en-US" sz="1400" dirty="0"/>
              <a:t>, Benjamin, The Intelligent Investor, Fourth Revised Edition, </a:t>
            </a:r>
            <a:r>
              <a:rPr lang="en-US" sz="1400" dirty="0" smtClean="0"/>
              <a:t>Harper Business</a:t>
            </a:r>
            <a:r>
              <a:rPr lang="en-US" sz="1400" dirty="0"/>
              <a:t>, </a:t>
            </a:r>
            <a:r>
              <a:rPr lang="en-US" sz="1400" dirty="0" smtClean="0"/>
              <a:t>1973</a:t>
            </a:r>
            <a:endParaRPr lang="en-US" sz="1400" dirty="0"/>
          </a:p>
          <a:p>
            <a:pPr marL="190500" lvl="1" indent="-188913">
              <a:lnSpc>
                <a:spcPct val="80000"/>
              </a:lnSpc>
              <a:spcBef>
                <a:spcPct val="0"/>
              </a:spcBef>
              <a:spcAft>
                <a:spcPts val="600"/>
              </a:spcAft>
              <a:buFont typeface="Arial" charset="0"/>
              <a:buChar char="»"/>
            </a:pPr>
            <a:r>
              <a:rPr lang="en-US" sz="1400" dirty="0" err="1"/>
              <a:t>Keppler</a:t>
            </a:r>
            <a:r>
              <a:rPr lang="en-US" sz="1400" dirty="0"/>
              <a:t>, A. Michael, The Importance of Dividend Yields in Country </a:t>
            </a:r>
            <a:r>
              <a:rPr lang="en-US" sz="1400" dirty="0" smtClean="0"/>
              <a:t>Selection, Journal </a:t>
            </a:r>
            <a:r>
              <a:rPr lang="en-US" sz="1400" dirty="0"/>
              <a:t>of Portfolio Management, Winter, </a:t>
            </a:r>
            <a:r>
              <a:rPr lang="en-US" sz="1400" dirty="0" smtClean="0"/>
              <a:t>1991</a:t>
            </a:r>
            <a:endParaRPr lang="en-US" sz="1400" dirty="0"/>
          </a:p>
          <a:p>
            <a:pPr marL="190500" lvl="1" indent="-188913">
              <a:lnSpc>
                <a:spcPct val="80000"/>
              </a:lnSpc>
              <a:spcBef>
                <a:spcPct val="0"/>
              </a:spcBef>
              <a:spcAft>
                <a:spcPts val="600"/>
              </a:spcAft>
              <a:buFont typeface="Arial" charset="0"/>
              <a:buChar char="»"/>
            </a:pPr>
            <a:r>
              <a:rPr lang="en-US" sz="1400" dirty="0"/>
              <a:t>Levis, Mario, Stock Market Anomalies: A Reassessment Based on the UK </a:t>
            </a:r>
            <a:r>
              <a:rPr lang="en-US" sz="1400" dirty="0" smtClean="0"/>
              <a:t>Evidence, Journal </a:t>
            </a:r>
            <a:r>
              <a:rPr lang="en-US" sz="1400" dirty="0"/>
              <a:t>of Banking and Finance, 13, </a:t>
            </a:r>
            <a:r>
              <a:rPr lang="en-US" sz="1400" dirty="0" smtClean="0"/>
              <a:t>198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 of Personal Taxes </a:t>
            </a:r>
            <a:r>
              <a:rPr lang="en-US" sz="1400" dirty="0" smtClean="0"/>
              <a:t>and Dividends </a:t>
            </a:r>
            <a:r>
              <a:rPr lang="en-US" sz="1400" dirty="0"/>
              <a:t>on Capital Asset Prices, Journal of Financial Economics, </a:t>
            </a:r>
            <a:r>
              <a:rPr lang="en-US" sz="1400" dirty="0" smtClean="0"/>
              <a:t>197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s of </a:t>
            </a:r>
            <a:r>
              <a:rPr lang="en-US" sz="1400" dirty="0" smtClean="0"/>
              <a:t>Dividends on </a:t>
            </a:r>
            <a:r>
              <a:rPr lang="en-US" sz="1400" dirty="0"/>
              <a:t>Common Stock Prices Tax Effects or Information Effects?, The Journal </a:t>
            </a:r>
            <a:r>
              <a:rPr lang="en-US" sz="1400" dirty="0" smtClean="0"/>
              <a:t>Of Finance</a:t>
            </a:r>
            <a:r>
              <a:rPr lang="en-US" sz="1400" dirty="0"/>
              <a:t>, Vol. XXXVII, No. 2, May </a:t>
            </a:r>
            <a:r>
              <a:rPr lang="en-US" sz="1400" dirty="0" smtClean="0"/>
              <a:t>1982</a:t>
            </a:r>
            <a:endParaRPr lang="en-US" sz="1400" dirty="0"/>
          </a:p>
          <a:p>
            <a:pPr marL="190500" lvl="1" indent="-188913">
              <a:lnSpc>
                <a:spcPct val="80000"/>
              </a:lnSpc>
              <a:spcBef>
                <a:spcPct val="0"/>
              </a:spcBef>
              <a:spcAft>
                <a:spcPts val="600"/>
              </a:spcAft>
              <a:buFont typeface="Arial" charset="0"/>
              <a:buChar char="»"/>
            </a:pPr>
            <a:r>
              <a:rPr lang="en-US" sz="1400" dirty="0"/>
              <a:t>O’Higgins, Michael B. and John </a:t>
            </a:r>
            <a:r>
              <a:rPr lang="en-US" sz="1400" dirty="0" err="1"/>
              <a:t>Downes</a:t>
            </a:r>
            <a:r>
              <a:rPr lang="en-US" sz="1400" dirty="0"/>
              <a:t>, Beating the Dow, HarperCollins </a:t>
            </a:r>
            <a:r>
              <a:rPr lang="en-US" sz="1400" dirty="0" smtClean="0"/>
              <a:t>2000</a:t>
            </a:r>
            <a:endParaRPr lang="en-US" sz="1400" dirty="0"/>
          </a:p>
          <a:p>
            <a:pPr marL="190500" lvl="1" indent="-188913" algn="l">
              <a:lnSpc>
                <a:spcPct val="80000"/>
              </a:lnSpc>
              <a:spcBef>
                <a:spcPct val="0"/>
              </a:spcBef>
              <a:spcAft>
                <a:spcPts val="600"/>
              </a:spcAft>
              <a:buFont typeface="Arial" charset="0"/>
              <a:buChar char="»"/>
            </a:pPr>
            <a:endParaRPr lang="en-US" sz="1400" b="0" dirty="0"/>
          </a:p>
          <a:p>
            <a:pPr marL="190500" lvl="1" indent="-188913" algn="l">
              <a:lnSpc>
                <a:spcPct val="80000"/>
              </a:lnSpc>
              <a:spcBef>
                <a:spcPct val="0"/>
              </a:spcBef>
              <a:spcAft>
                <a:spcPts val="600"/>
              </a:spcAft>
              <a:buFont typeface="Arial" charset="0"/>
              <a:buChar char="»"/>
            </a:pPr>
            <a:endParaRPr lang="en-US" sz="1400" b="0" dirty="0"/>
          </a:p>
        </p:txBody>
      </p:sp>
    </p:spTree>
    <p:extLst>
      <p:ext uri="{BB962C8B-B14F-4D97-AF65-F5344CB8AC3E}">
        <p14:creationId xmlns:p14="http://schemas.microsoft.com/office/powerpoint/2010/main" val="14259614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smtClean="0"/>
              <a:t>®</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3</a:t>
            </a:r>
          </a:p>
          <a:p>
            <a:r>
              <a:rPr lang="en-US" dirty="0" smtClean="0"/>
              <a:t>Methodology	Page </a:t>
            </a:r>
            <a:r>
              <a:rPr lang="en-US" dirty="0"/>
              <a:t>4</a:t>
            </a:r>
            <a:endParaRPr lang="en-US" dirty="0" smtClean="0"/>
          </a:p>
          <a:p>
            <a:r>
              <a:rPr lang="en-US" dirty="0" smtClean="0"/>
              <a:t>Risk and return overview	Page 5</a:t>
            </a:r>
            <a:endParaRPr lang="en-US" dirty="0"/>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solidFill>
                  <a:prstClr val="black"/>
                </a:solidFill>
              </a:rPr>
              <a:t>In </a:t>
            </a:r>
            <a:r>
              <a:rPr lang="en-US" sz="1600" dirty="0">
                <a:solidFill>
                  <a:prstClr val="black"/>
                </a:solidFill>
              </a:rPr>
              <a:t>today’s </a:t>
            </a:r>
            <a:r>
              <a:rPr lang="en-US" sz="1600" b="1" dirty="0">
                <a:solidFill>
                  <a:prstClr val="black"/>
                </a:solidFill>
              </a:rPr>
              <a:t>low yield </a:t>
            </a:r>
            <a:r>
              <a:rPr lang="en-US" sz="1600" b="1" dirty="0" smtClean="0">
                <a:solidFill>
                  <a:prstClr val="black"/>
                </a:solidFill>
              </a:rPr>
              <a:t>environment </a:t>
            </a:r>
            <a:r>
              <a:rPr lang="en-US" sz="1600" dirty="0">
                <a:solidFill>
                  <a:prstClr val="black"/>
                </a:solidFill>
              </a:rPr>
              <a:t>investor preferences </a:t>
            </a:r>
            <a:r>
              <a:rPr lang="en-US" sz="1600" dirty="0" smtClean="0">
                <a:solidFill>
                  <a:prstClr val="black"/>
                </a:solidFill>
              </a:rPr>
              <a:t>are strongly </a:t>
            </a:r>
            <a:r>
              <a:rPr lang="en-US" sz="1600" dirty="0">
                <a:solidFill>
                  <a:prstClr val="black"/>
                </a:solidFill>
              </a:rPr>
              <a:t>tilt toward high dividend stocks which can boost </a:t>
            </a:r>
            <a:r>
              <a:rPr lang="en-US" sz="1600" dirty="0" smtClean="0">
                <a:solidFill>
                  <a:prstClr val="black"/>
                </a:solidFill>
              </a:rPr>
              <a:t>stock prices</a:t>
            </a:r>
            <a:endParaRPr lang="en-US" sz="1600" dirty="0" smtClean="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Considerations</a:t>
            </a:r>
            <a:endParaRPr lang="en-US" sz="1600" b="1" dirty="0">
              <a:solidFill>
                <a:prstClr val="white"/>
              </a:solidFill>
            </a:endParaRPr>
          </a:p>
        </p:txBody>
      </p:sp>
      <p:sp>
        <p:nvSpPr>
          <p:cNvPr id="37893" name="Rectangle 5"/>
          <p:cNvSpPr>
            <a:spLocks noChangeArrowheads="1"/>
          </p:cNvSpPr>
          <p:nvPr/>
        </p:nvSpPr>
        <p:spPr bwMode="auto">
          <a:xfrm>
            <a:off x="5167313" y="2217738"/>
            <a:ext cx="4359275" cy="93564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STOXX </a:t>
            </a:r>
            <a:r>
              <a:rPr lang="en-US" sz="1600" dirty="0"/>
              <a:t>ensures that component </a:t>
            </a:r>
            <a:r>
              <a:rPr lang="en-US" sz="1600" b="1" dirty="0"/>
              <a:t>selection and weighting </a:t>
            </a:r>
            <a:r>
              <a:rPr lang="en-US" sz="1600" dirty="0"/>
              <a:t>for Select Dividend Indices is </a:t>
            </a:r>
            <a:r>
              <a:rPr lang="en-US" sz="1600" dirty="0" smtClean="0"/>
              <a:t>based </a:t>
            </a:r>
            <a:r>
              <a:rPr lang="en-US" sz="1600" dirty="0"/>
              <a:t>on </a:t>
            </a:r>
            <a:r>
              <a:rPr lang="en-US" sz="1600" dirty="0" smtClean="0"/>
              <a:t>net </a:t>
            </a:r>
            <a:r>
              <a:rPr lang="en-US" sz="1600" dirty="0"/>
              <a:t>dividend </a:t>
            </a:r>
            <a:r>
              <a:rPr lang="en-US" sz="1600" dirty="0" smtClean="0"/>
              <a:t>yield relative to home market</a:t>
            </a:r>
            <a:endParaRPr lang="en-US" sz="1600" dirty="0" smtClean="0">
              <a:solidFill>
                <a:srgbClr val="000000"/>
              </a:solidFill>
            </a:endParaRPr>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rgbClr val="FFFFFF"/>
                </a:solidFill>
              </a:rPr>
              <a:t>Approach</a:t>
            </a:r>
            <a:endParaRPr lang="en-US" sz="1600" b="1" dirty="0">
              <a:solidFill>
                <a:srgbClr val="FFFFFF"/>
              </a:solidFill>
            </a:endParaRP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solidFill>
                    <a:prstClr val="black"/>
                  </a:solidFill>
                </a:endParaRPr>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grpSp>
        </p:grpSp>
      </p:grpSp>
      <p:sp>
        <p:nvSpPr>
          <p:cNvPr id="2" name="Text Placeholder 1"/>
          <p:cNvSpPr>
            <a:spLocks noGrp="1"/>
          </p:cNvSpPr>
          <p:nvPr>
            <p:ph type="body" sz="quarter" idx="12"/>
          </p:nvPr>
        </p:nvSpPr>
        <p:spPr/>
        <p:txBody>
          <a:bodyPr/>
          <a:lstStyle/>
          <a:p>
            <a:r>
              <a:rPr lang="en-US" dirty="0" smtClean="0"/>
              <a:t>List of selected references are provided at the end of this presentation</a:t>
            </a:r>
            <a:endParaRPr lang="en-US" dirty="0"/>
          </a:p>
        </p:txBody>
      </p:sp>
      <p:sp>
        <p:nvSpPr>
          <p:cNvPr id="15" name="Rectangle 3"/>
          <p:cNvSpPr>
            <a:spLocks noChangeArrowheads="1"/>
          </p:cNvSpPr>
          <p:nvPr/>
        </p:nvSpPr>
        <p:spPr bwMode="auto">
          <a:xfrm>
            <a:off x="368300" y="3236317"/>
            <a:ext cx="4357688" cy="116955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Extensive research supports that </a:t>
            </a:r>
            <a:r>
              <a:rPr lang="en-US" sz="1600" dirty="0"/>
              <a:t>companies that </a:t>
            </a:r>
            <a:r>
              <a:rPr lang="en-US" sz="1600" b="1" dirty="0"/>
              <a:t>continuously pay dividends</a:t>
            </a:r>
            <a:r>
              <a:rPr lang="en-US" sz="1600" dirty="0"/>
              <a:t> during good times also do so during bear </a:t>
            </a:r>
            <a:r>
              <a:rPr lang="en-US" sz="1600" dirty="0" smtClean="0"/>
              <a:t>markets and tend to generate above market </a:t>
            </a:r>
            <a:r>
              <a:rPr lang="en-US" sz="1600" dirty="0">
                <a:solidFill>
                  <a:prstClr val="black"/>
                </a:solidFill>
              </a:rPr>
              <a:t>risk-adjusted </a:t>
            </a:r>
            <a:r>
              <a:rPr lang="en-US" sz="1600" dirty="0" smtClean="0">
                <a:solidFill>
                  <a:prstClr val="black"/>
                </a:solidFill>
              </a:rPr>
              <a:t>returns</a:t>
            </a:r>
            <a:r>
              <a:rPr lang="en-US" sz="1600" baseline="30000" dirty="0" smtClean="0">
                <a:solidFill>
                  <a:prstClr val="black"/>
                </a:solidFill>
              </a:rPr>
              <a:t>1</a:t>
            </a:r>
            <a:endParaRPr lang="en-US" sz="1600" dirty="0"/>
          </a:p>
        </p:txBody>
      </p:sp>
      <p:sp>
        <p:nvSpPr>
          <p:cNvPr id="17" name="Rectangle 5"/>
          <p:cNvSpPr>
            <a:spLocks noChangeArrowheads="1"/>
          </p:cNvSpPr>
          <p:nvPr/>
        </p:nvSpPr>
        <p:spPr bwMode="auto">
          <a:xfrm>
            <a:off x="5167313" y="3419017"/>
            <a:ext cx="4359275" cy="46782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Focus on </a:t>
            </a:r>
            <a:r>
              <a:rPr lang="en-US" sz="1600" b="1" dirty="0">
                <a:solidFill>
                  <a:srgbClr val="000000"/>
                </a:solidFill>
              </a:rPr>
              <a:t>consistent</a:t>
            </a:r>
            <a:r>
              <a:rPr lang="en-US" sz="1600" dirty="0">
                <a:solidFill>
                  <a:srgbClr val="000000"/>
                </a:solidFill>
              </a:rPr>
              <a:t> and long track record of dividend </a:t>
            </a:r>
            <a:r>
              <a:rPr lang="en-US" sz="1600" dirty="0" smtClean="0">
                <a:solidFill>
                  <a:srgbClr val="000000"/>
                </a:solidFill>
              </a:rPr>
              <a:t>payments</a:t>
            </a:r>
            <a:endParaRPr lang="en-US" sz="1600" dirty="0">
              <a:solidFill>
                <a:srgbClr val="000000"/>
              </a:solidFill>
            </a:endParaRPr>
          </a:p>
        </p:txBody>
      </p:sp>
      <p:sp>
        <p:nvSpPr>
          <p:cNvPr id="19" name="Rectangle 5"/>
          <p:cNvSpPr>
            <a:spLocks noChangeArrowheads="1"/>
          </p:cNvSpPr>
          <p:nvPr/>
        </p:nvSpPr>
        <p:spPr bwMode="auto">
          <a:xfrm>
            <a:off x="5167313" y="4206880"/>
            <a:ext cx="4359275"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b="1" dirty="0">
                <a:solidFill>
                  <a:srgbClr val="000000"/>
                </a:solidFill>
              </a:rPr>
              <a:t>Tradability and diversification </a:t>
            </a:r>
            <a:r>
              <a:rPr lang="en-US" sz="1600" dirty="0">
                <a:solidFill>
                  <a:srgbClr val="000000"/>
                </a:solidFill>
              </a:rPr>
              <a:t>achieved through liquidity filters and maximum weight capping</a:t>
            </a:r>
          </a:p>
        </p:txBody>
      </p:sp>
      <p:sp>
        <p:nvSpPr>
          <p:cNvPr id="25" name="Rectangle 3"/>
          <p:cNvSpPr>
            <a:spLocks noChangeArrowheads="1"/>
          </p:cNvSpPr>
          <p:nvPr/>
        </p:nvSpPr>
        <p:spPr bwMode="auto">
          <a:xfrm>
            <a:off x="368300" y="4695071"/>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prstClr val="black"/>
                </a:solidFill>
              </a:rPr>
              <a:t>Very high dividends can indicate that companies lack profitable reinvestment ideas/opportunities</a:t>
            </a:r>
            <a:endParaRPr lang="en-US" sz="1600" dirty="0"/>
          </a:p>
        </p:txBody>
      </p:sp>
      <p:sp>
        <p:nvSpPr>
          <p:cNvPr id="26" name="Rectangle 5"/>
          <p:cNvSpPr>
            <a:spLocks noChangeArrowheads="1"/>
          </p:cNvSpPr>
          <p:nvPr/>
        </p:nvSpPr>
        <p:spPr bwMode="auto">
          <a:xfrm>
            <a:off x="5167312" y="5162892"/>
            <a:ext cx="4359275" cy="23391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Avoid companies with excessive payout ratios </a:t>
            </a:r>
          </a:p>
        </p:txBody>
      </p:sp>
    </p:spTree>
    <p:extLst>
      <p:ext uri="{BB962C8B-B14F-4D97-AF65-F5344CB8AC3E}">
        <p14:creationId xmlns:p14="http://schemas.microsoft.com/office/powerpoint/2010/main" val="31123789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17"/>
          <p:cNvSpPr>
            <a:spLocks noChangeArrowheads="1"/>
          </p:cNvSpPr>
          <p:nvPr/>
        </p:nvSpPr>
        <p:spPr bwMode="auto">
          <a:xfrm>
            <a:off x="6967062" y="1752601"/>
            <a:ext cx="2662713" cy="3663950"/>
          </a:xfrm>
          <a:prstGeom prst="rect">
            <a:avLst/>
          </a:prstGeom>
          <a:solidFill>
            <a:srgbClr val="D9D9D9"/>
          </a:solidFill>
          <a:ln w="9525" algn="ctr">
            <a:solidFill>
              <a:srgbClr val="D9D9D9"/>
            </a:solidFill>
            <a:round/>
            <a:headEnd/>
            <a:tailEnd/>
          </a:ln>
        </p:spPr>
        <p:txBody>
          <a:bodyPr wrap="none" lIns="72000" tIns="72000" rIns="72000" bIns="72000" anchor="t" anchorCtr="0"/>
          <a:lstStyle/>
          <a:p>
            <a:pPr>
              <a:lnSpc>
                <a:spcPct val="95000"/>
              </a:lnSpc>
              <a:spcBef>
                <a:spcPct val="0"/>
              </a:spcBef>
            </a:pPr>
            <a:r>
              <a:rPr lang="en-US" sz="1600" b="1" dirty="0"/>
              <a:t>Additional features</a:t>
            </a:r>
          </a:p>
          <a:p>
            <a:pPr>
              <a:lnSpc>
                <a:spcPct val="95000"/>
              </a:lnSpc>
              <a:spcBef>
                <a:spcPct val="0"/>
              </a:spcBef>
            </a:pPr>
            <a:endParaRPr lang="en-US" sz="1600" b="1" dirty="0"/>
          </a:p>
          <a:p>
            <a:pPr marL="190500" lvl="1" indent="-188913">
              <a:lnSpc>
                <a:spcPct val="95000"/>
              </a:lnSpc>
              <a:spcBef>
                <a:spcPct val="0"/>
              </a:spcBef>
              <a:buFont typeface="Arial" charset="0"/>
              <a:buChar char="»"/>
            </a:pPr>
            <a:r>
              <a:rPr lang="en-US" sz="1600" dirty="0"/>
              <a:t>Weighting</a:t>
            </a:r>
            <a:r>
              <a:rPr lang="en-US" sz="1600" dirty="0" smtClean="0"/>
              <a:t>: based on </a:t>
            </a:r>
          </a:p>
          <a:p>
            <a:pPr marL="1587" lvl="1">
              <a:lnSpc>
                <a:spcPct val="95000"/>
              </a:lnSpc>
              <a:spcBef>
                <a:spcPct val="0"/>
              </a:spcBef>
            </a:pPr>
            <a:r>
              <a:rPr lang="en-US" sz="1600" dirty="0" smtClean="0"/>
              <a:t>Annual net dividend yield.</a:t>
            </a:r>
          </a:p>
          <a:p>
            <a:pPr marL="1587" lvl="1">
              <a:lnSpc>
                <a:spcPct val="95000"/>
              </a:lnSpc>
              <a:spcBef>
                <a:spcPct val="0"/>
              </a:spcBef>
            </a:pPr>
            <a:r>
              <a:rPr lang="en-US" sz="1600" dirty="0" smtClean="0"/>
              <a:t>Capping at 15% applied </a:t>
            </a:r>
          </a:p>
          <a:p>
            <a:pPr marL="1587" lvl="1">
              <a:lnSpc>
                <a:spcPct val="95000"/>
              </a:lnSpc>
              <a:spcBef>
                <a:spcPct val="0"/>
              </a:spcBef>
            </a:pPr>
            <a:r>
              <a:rPr lang="en-US" sz="1600" dirty="0" smtClean="0"/>
              <a:t>quarterly</a:t>
            </a:r>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Review</a:t>
            </a:r>
            <a:r>
              <a:rPr lang="en-US" sz="1600" dirty="0" smtClean="0"/>
              <a:t>: annually in </a:t>
            </a:r>
          </a:p>
          <a:p>
            <a:pPr marL="1587" lvl="1">
              <a:lnSpc>
                <a:spcPct val="95000"/>
              </a:lnSpc>
              <a:spcBef>
                <a:spcPct val="0"/>
              </a:spcBef>
            </a:pPr>
            <a:r>
              <a:rPr lang="en-US" sz="1600" dirty="0" smtClean="0"/>
              <a:t>March.</a:t>
            </a:r>
          </a:p>
          <a:p>
            <a:pPr marL="1587" lvl="1">
              <a:lnSpc>
                <a:spcPct val="95000"/>
              </a:lnSpc>
              <a:spcBef>
                <a:spcPct val="0"/>
              </a:spcBef>
            </a:pPr>
            <a:endParaRPr lang="en-US" sz="1600" dirty="0" smtClean="0"/>
          </a:p>
          <a:p>
            <a:pPr marL="190500" lvl="1" indent="-188913">
              <a:lnSpc>
                <a:spcPct val="95000"/>
              </a:lnSpc>
              <a:spcBef>
                <a:spcPct val="0"/>
              </a:spcBef>
              <a:buFont typeface="Arial" charset="0"/>
              <a:buChar char="»"/>
            </a:pPr>
            <a:r>
              <a:rPr lang="en-US" sz="1600" dirty="0" smtClean="0"/>
              <a:t>Only the higher dividend</a:t>
            </a:r>
          </a:p>
          <a:p>
            <a:pPr marL="1587" lvl="1">
              <a:lnSpc>
                <a:spcPct val="95000"/>
              </a:lnSpc>
              <a:spcBef>
                <a:spcPct val="0"/>
              </a:spcBef>
            </a:pPr>
            <a:r>
              <a:rPr lang="en-US" sz="1600" dirty="0"/>
              <a:t>y</a:t>
            </a:r>
            <a:r>
              <a:rPr lang="en-US" sz="1600" dirty="0" smtClean="0"/>
              <a:t>ielding share line is chosen</a:t>
            </a:r>
            <a:endParaRPr lang="en-US" sz="1600" dirty="0"/>
          </a:p>
          <a:p>
            <a:pPr marL="1587" lvl="1">
              <a:lnSpc>
                <a:spcPct val="95000"/>
              </a:lnSpc>
              <a:spcBef>
                <a:spcPct val="0"/>
              </a:spcBef>
            </a:pPr>
            <a:r>
              <a:rPr lang="en-US" sz="1600" dirty="0"/>
              <a:t>f</a:t>
            </a:r>
            <a:r>
              <a:rPr lang="en-US" sz="1600" dirty="0" smtClean="0"/>
              <a:t>or a company</a:t>
            </a:r>
            <a:endParaRPr lang="en-US" sz="1600" dirty="0"/>
          </a:p>
          <a:p>
            <a:pPr marL="1587" lvl="1">
              <a:lnSpc>
                <a:spcPct val="95000"/>
              </a:lnSpc>
              <a:spcBef>
                <a:spcPct val="0"/>
              </a:spcBef>
            </a:pPr>
            <a:endParaRPr lang="en-US" sz="1600" dirty="0" smtClean="0"/>
          </a:p>
        </p:txBody>
      </p:sp>
      <p:sp>
        <p:nvSpPr>
          <p:cNvPr id="82946" name="Rectangle 2"/>
          <p:cNvSpPr>
            <a:spLocks noGrp="1" noChangeArrowheads="1"/>
          </p:cNvSpPr>
          <p:nvPr>
            <p:ph type="title"/>
          </p:nvPr>
        </p:nvSpPr>
        <p:spPr/>
        <p:txBody>
          <a:bodyPr/>
          <a:lstStyle/>
          <a:p>
            <a:r>
              <a:rPr lang="de-CH" dirty="0" err="1" smtClean="0"/>
              <a:t>Methodology</a:t>
            </a:r>
            <a:endParaRPr lang="en-US" dirty="0" smtClean="0"/>
          </a:p>
        </p:txBody>
      </p:sp>
      <p:sp>
        <p:nvSpPr>
          <p:cNvPr id="2" name="Text Placeholder 1"/>
          <p:cNvSpPr>
            <a:spLocks noGrp="1"/>
          </p:cNvSpPr>
          <p:nvPr>
            <p:ph type="body" sz="quarter" idx="12"/>
          </p:nvPr>
        </p:nvSpPr>
        <p:spPr>
          <a:xfrm>
            <a:off x="1737360" y="6400800"/>
            <a:ext cx="7589520" cy="365760"/>
          </a:xfrm>
        </p:spPr>
        <p:txBody>
          <a:bodyPr/>
          <a:lstStyle/>
          <a:p>
            <a:pPr marL="0" indent="0">
              <a:buNone/>
            </a:pPr>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31" name="Rectangle 6"/>
          <p:cNvSpPr>
            <a:spLocks noChangeArrowheads="1"/>
          </p:cNvSpPr>
          <p:nvPr/>
        </p:nvSpPr>
        <p:spPr bwMode="auto">
          <a:xfrm>
            <a:off x="3111516" y="2234102"/>
            <a:ext cx="3756009" cy="2105192"/>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smtClean="0"/>
              <a:t>Companies that announced dividends payments</a:t>
            </a:r>
          </a:p>
          <a:p>
            <a:pPr marL="196850" lvl="1" indent="-195263" defTabSz="736600">
              <a:lnSpc>
                <a:spcPct val="95000"/>
              </a:lnSpc>
              <a:spcBef>
                <a:spcPct val="0"/>
              </a:spcBef>
              <a:buFont typeface="Arial" charset="0"/>
              <a:buChar char="»"/>
            </a:pPr>
            <a:r>
              <a:rPr lang="en-US" sz="1600" dirty="0" smtClean="0"/>
              <a:t>Have a non-negative dividend growth rate over the past 5 years</a:t>
            </a:r>
          </a:p>
          <a:p>
            <a:pPr marL="196850" lvl="1" indent="-195263" defTabSz="736600">
              <a:lnSpc>
                <a:spcPct val="95000"/>
              </a:lnSpc>
              <a:spcBef>
                <a:spcPct val="0"/>
              </a:spcBef>
              <a:buFont typeface="Arial" charset="0"/>
              <a:buChar char="»"/>
            </a:pPr>
            <a:r>
              <a:rPr lang="en-US" sz="1600" dirty="0" smtClean="0"/>
              <a:t>Dividend payment in 4 out of last 5 calendar years</a:t>
            </a:r>
          </a:p>
          <a:p>
            <a:pPr marL="196850" lvl="1" indent="-195263" defTabSz="736600">
              <a:lnSpc>
                <a:spcPct val="95000"/>
              </a:lnSpc>
              <a:spcBef>
                <a:spcPct val="0"/>
              </a:spcBef>
              <a:buFont typeface="Arial" charset="0"/>
              <a:buChar char="»"/>
            </a:pPr>
            <a:r>
              <a:rPr lang="en-US" sz="1600" dirty="0" smtClean="0"/>
              <a:t>Non-negative payout </a:t>
            </a:r>
            <a:r>
              <a:rPr lang="en-US" sz="1600" dirty="0"/>
              <a:t>ratio of less than or equal to </a:t>
            </a:r>
            <a:r>
              <a:rPr lang="en-US" sz="1600" dirty="0" smtClean="0"/>
              <a:t>60%</a:t>
            </a:r>
          </a:p>
          <a:p>
            <a:pPr marL="196850" lvl="1" indent="-195263" defTabSz="736600">
              <a:lnSpc>
                <a:spcPct val="95000"/>
              </a:lnSpc>
              <a:spcBef>
                <a:spcPct val="0"/>
              </a:spcBef>
              <a:buFont typeface="Arial" charset="0"/>
              <a:buChar char="»"/>
            </a:pPr>
            <a:r>
              <a:rPr lang="en-US" sz="1600" dirty="0" smtClean="0"/>
              <a:t>Minimum liquidity level</a:t>
            </a:r>
          </a:p>
        </p:txBody>
      </p:sp>
      <p:sp>
        <p:nvSpPr>
          <p:cNvPr id="32" name="Rectangle 6"/>
          <p:cNvSpPr>
            <a:spLocks noChangeArrowheads="1"/>
          </p:cNvSpPr>
          <p:nvPr/>
        </p:nvSpPr>
        <p:spPr bwMode="auto">
          <a:xfrm>
            <a:off x="3111516" y="1836737"/>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smtClean="0"/>
              <a:t>EURO STOXX + secondary lines</a:t>
            </a:r>
            <a:endParaRPr lang="en-US" sz="1600" b="0" dirty="0"/>
          </a:p>
        </p:txBody>
      </p:sp>
      <p:sp>
        <p:nvSpPr>
          <p:cNvPr id="19" name="Flowchart: Merge 18"/>
          <p:cNvSpPr/>
          <p:nvPr/>
        </p:nvSpPr>
        <p:spPr bwMode="auto">
          <a:xfrm>
            <a:off x="295275" y="1752601"/>
            <a:ext cx="2816241" cy="3663950"/>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975762" y="183673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967671" y="311504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951343" y="449108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16" name="Rectangle 6"/>
          <p:cNvSpPr>
            <a:spLocks noChangeArrowheads="1"/>
          </p:cNvSpPr>
          <p:nvPr/>
        </p:nvSpPr>
        <p:spPr bwMode="auto">
          <a:xfrm>
            <a:off x="3065417" y="4491087"/>
            <a:ext cx="3657600" cy="935641"/>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a:t>30 highest-yielding companies relative to their home market. Current components </a:t>
            </a:r>
            <a:r>
              <a:rPr lang="en-US" sz="1600" dirty="0" smtClean="0"/>
              <a:t>ranked from </a:t>
            </a:r>
            <a:r>
              <a:rPr lang="en-US" sz="1600" dirty="0"/>
              <a:t>1 to 60 </a:t>
            </a:r>
            <a:r>
              <a:rPr lang="en-US" sz="1600" dirty="0" smtClean="0"/>
              <a:t>remain in </a:t>
            </a:r>
            <a:r>
              <a:rPr lang="en-US" sz="1600" dirty="0"/>
              <a:t>the index</a:t>
            </a:r>
            <a:endParaRPr lang="en-US" sz="1600" b="0" dirty="0"/>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2565474821"/>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1284786816"/>
              </p:ext>
            </p:extLst>
          </p:nvPr>
        </p:nvGraphicFramePr>
        <p:xfrm>
          <a:off x="5167313" y="2225823"/>
          <a:ext cx="4357687" cy="3092377"/>
        </p:xfrm>
        <a:graphic>
          <a:graphicData uri="http://schemas.openxmlformats.org/drawingml/2006/table">
            <a:tbl>
              <a:tblPr>
                <a:tableStyleId>{616DA210-FB5B-4158-B5E0-FEB733F419BA}</a:tableStyleId>
              </a:tblPr>
              <a:tblGrid>
                <a:gridCol w="1957387"/>
                <a:gridCol w="1209675"/>
                <a:gridCol w="1190625"/>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a:t>
                      </a:r>
                      <a:r>
                        <a:rPr kumimoji="0" lang="en-US" sz="1000" b="1" i="0" u="none" strike="noStrike" kern="1200" cap="none" normalizeH="0" baseline="0" noProof="0" dirty="0" smtClean="0">
                          <a:ln>
                            <a:noFill/>
                          </a:ln>
                          <a:solidFill>
                            <a:schemeClr val="accent1"/>
                          </a:solidFill>
                          <a:effectLst/>
                          <a:latin typeface="Arial"/>
                          <a:ea typeface=""/>
                          <a:cs typeface=""/>
                        </a:rPr>
                        <a:t>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0%</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7.9%</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4.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8.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5.7</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8.6%</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7.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0.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4.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4.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8.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9.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7.7%</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0.1%</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1</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r>
              <a:rPr lang="en-US" sz="1600" dirty="0" smtClean="0">
                <a:solidFill>
                  <a:schemeClr val="bg1"/>
                </a:solidFill>
              </a:rPr>
              <a:t> </a:t>
            </a:r>
            <a:r>
              <a:rPr lang="en-US" sz="1600" b="1" dirty="0">
                <a:solidFill>
                  <a:schemeClr val="bg1"/>
                </a:solidFill>
              </a:rPr>
              <a:t>5</a:t>
            </a:r>
            <a:r>
              <a:rPr lang="en-US" sz="1600" b="1" dirty="0" smtClean="0">
                <a:solidFill>
                  <a:schemeClr val="bg1"/>
                </a:solidFill>
              </a:rPr>
              <a:t>y</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36" name="Text Box 150"/>
          <p:cNvSpPr txBox="1">
            <a:spLocks noChangeArrowheads="1"/>
          </p:cNvSpPr>
          <p:nvPr/>
        </p:nvSpPr>
        <p:spPr bwMode="auto">
          <a:xfrm>
            <a:off x="1737360" y="6400800"/>
            <a:ext cx="7680960" cy="438582"/>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a:t>
            </a:r>
            <a:r>
              <a:rPr lang="en-US" sz="1000" dirty="0" smtClean="0">
                <a:solidFill>
                  <a:schemeClr val="accent5"/>
                </a:solidFill>
              </a:rPr>
              <a:t> </a:t>
            </a:r>
            <a:r>
              <a:rPr lang="en-US" sz="1000" dirty="0" smtClean="0">
                <a:solidFill>
                  <a:srgbClr val="AFAFAF"/>
                </a:solidFill>
              </a:rPr>
              <a:t>as of Nov. </a:t>
            </a:r>
            <a:r>
              <a:rPr lang="en-US" sz="1000" dirty="0" smtClean="0">
                <a:solidFill>
                  <a:srgbClr val="AFAFAF"/>
                </a:solidFill>
              </a:rPr>
              <a:t>28, </a:t>
            </a:r>
            <a:r>
              <a:rPr lang="en-US" sz="1000" dirty="0" smtClean="0">
                <a:solidFill>
                  <a:srgbClr val="AFAFAF"/>
                </a:solidFill>
              </a:rPr>
              <a:t>2014. Annualized returns and annualized volatility (standard deviation) figures are used</a:t>
            </a:r>
          </a:p>
          <a:p>
            <a:pPr marL="164592" indent="-164592">
              <a:lnSpc>
                <a:spcPct val="95000"/>
              </a:lnSpc>
              <a:spcBef>
                <a:spcPct val="0"/>
              </a:spcBef>
              <a:buFont typeface="+mj-lt"/>
              <a:buAutoNum type="arabicParenR"/>
            </a:pPr>
            <a:r>
              <a:rPr lang="en-US" sz="1000" dirty="0">
                <a:solidFill>
                  <a:srgbClr val="AFAFAF"/>
                </a:solidFill>
              </a:rPr>
              <a:t>Computed for the period </a:t>
            </a:r>
            <a:r>
              <a:rPr lang="en-US" sz="1000" dirty="0" smtClean="0">
                <a:solidFill>
                  <a:srgbClr val="AFAFAF"/>
                </a:solidFill>
              </a:rPr>
              <a:t>Dec. </a:t>
            </a:r>
            <a:r>
              <a:rPr lang="en-US" sz="1000" dirty="0" smtClean="0">
                <a:solidFill>
                  <a:srgbClr val="AFAFAF"/>
                </a:solidFill>
              </a:rPr>
              <a:t>1, 2009 to </a:t>
            </a:r>
            <a:r>
              <a:rPr lang="en-US" sz="1000" dirty="0" smtClean="0">
                <a:solidFill>
                  <a:srgbClr val="AFAFAF"/>
                </a:solidFill>
              </a:rPr>
              <a:t>Nov. 28, </a:t>
            </a:r>
            <a:r>
              <a:rPr lang="en-US" sz="1000" dirty="0" smtClean="0">
                <a:solidFill>
                  <a:srgbClr val="AFAFAF"/>
                </a:solidFill>
              </a:rPr>
              <a:t>2014</a:t>
            </a:r>
          </a:p>
          <a:p>
            <a:pPr marL="164592" lvl="0" indent="-164592">
              <a:lnSpc>
                <a:spcPct val="95000"/>
              </a:lnSpc>
              <a:spcBef>
                <a:spcPct val="0"/>
              </a:spcBef>
              <a:buFont typeface="+mj-lt"/>
              <a:buAutoNum type="arabicParenR"/>
            </a:pPr>
            <a:r>
              <a:rPr lang="en-US" sz="1000" dirty="0" smtClean="0">
                <a:solidFill>
                  <a:srgbClr val="AFAFAF"/>
                </a:solidFill>
              </a:rPr>
              <a:t>EONIA rate used as riskless asset to calculate Sharpe ratio</a:t>
            </a:r>
            <a:endParaRPr lang="en-US" sz="1000" b="1" dirty="0" smtClean="0">
              <a:solidFill>
                <a:schemeClr val="accent5"/>
              </a:solidFill>
            </a:endParaRPr>
          </a:p>
        </p:txBody>
      </p:sp>
      <p:sp>
        <p:nvSpPr>
          <p:cNvPr id="8" name="Rectangle 6"/>
          <p:cNvSpPr>
            <a:spLocks noChangeArrowheads="1"/>
          </p:cNvSpPr>
          <p:nvPr/>
        </p:nvSpPr>
        <p:spPr bwMode="auto">
          <a:xfrm>
            <a:off x="7213906"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EURO STOXX (EUR Gross Return</a:t>
            </a:r>
            <a:r>
              <a:rPr lang="en-US" sz="1000" dirty="0" smtClean="0"/>
              <a:t>)</a:t>
            </a:r>
            <a:endParaRPr lang="en-US" sz="1000" dirty="0"/>
          </a:p>
        </p:txBody>
      </p:sp>
      <p:sp>
        <p:nvSpPr>
          <p:cNvPr id="9"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EURO STOXX Select </a:t>
            </a:r>
            <a:r>
              <a:rPr lang="en-US" sz="1000" dirty="0" smtClean="0"/>
              <a:t>Dividend 30 (EUR </a:t>
            </a:r>
            <a:r>
              <a:rPr lang="en-US" sz="1000" dirty="0" smtClean="0"/>
              <a:t>Gross </a:t>
            </a:r>
            <a:r>
              <a:rPr lang="en-US" sz="1000" dirty="0" smtClean="0"/>
              <a:t>Return)</a:t>
            </a:r>
            <a:endParaRPr lang="en-US" sz="1000" dirty="0"/>
          </a:p>
        </p:txBody>
      </p:sp>
    </p:spTree>
    <p:extLst>
      <p:ext uri="{BB962C8B-B14F-4D97-AF65-F5344CB8AC3E}">
        <p14:creationId xmlns:p14="http://schemas.microsoft.com/office/powerpoint/2010/main" val="28494563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4" name="Text Placeholder 3"/>
          <p:cNvSpPr>
            <a:spLocks noGrp="1"/>
          </p:cNvSpPr>
          <p:nvPr>
            <p:ph type="body" sz="quarter" idx="12"/>
          </p:nvPr>
        </p:nvSpPr>
        <p:spPr>
          <a:xfrm>
            <a:off x="1732618" y="6396877"/>
            <a:ext cx="7382045" cy="318247"/>
          </a:xfrm>
        </p:spPr>
        <p:txBody>
          <a:bodyPr/>
          <a:lstStyle/>
          <a:p>
            <a:pPr lvl="0"/>
            <a:r>
              <a:rPr lang="en-US" dirty="0"/>
              <a:t>STOXX</a:t>
            </a:r>
            <a:r>
              <a:rPr lang="en-US" dirty="0">
                <a:solidFill>
                  <a:srgbClr val="AFAFAF"/>
                </a:solidFill>
              </a:rPr>
              <a:t> data as of </a:t>
            </a:r>
            <a:r>
              <a:rPr lang="en-US" dirty="0" smtClean="0">
                <a:solidFill>
                  <a:srgbClr val="AFAFAF"/>
                </a:solidFill>
              </a:rPr>
              <a:t>Nov. </a:t>
            </a:r>
            <a:r>
              <a:rPr lang="en-US" dirty="0" smtClean="0">
                <a:solidFill>
                  <a:srgbClr val="AFAFAF"/>
                </a:solidFill>
              </a:rPr>
              <a:t>28, </a:t>
            </a:r>
            <a:r>
              <a:rPr lang="en-US" dirty="0" smtClean="0">
                <a:solidFill>
                  <a:srgbClr val="AFAFAF"/>
                </a:solidFill>
              </a:rPr>
              <a:t>2014 (2) </a:t>
            </a:r>
            <a:r>
              <a:rPr lang="en-US" dirty="0" smtClean="0">
                <a:solidFill>
                  <a:srgbClr val="AFAFAF"/>
                </a:solidFill>
              </a:rPr>
              <a:t>Gross dividend </a:t>
            </a:r>
            <a:r>
              <a:rPr lang="en-US" dirty="0">
                <a:solidFill>
                  <a:srgbClr val="AFAFAF"/>
                </a:solidFill>
              </a:rPr>
              <a:t>yield is </a:t>
            </a:r>
            <a:r>
              <a:rPr lang="en-US" dirty="0" smtClean="0">
                <a:solidFill>
                  <a:srgbClr val="AFAFAF"/>
                </a:solidFill>
              </a:rPr>
              <a:t>calculated as </a:t>
            </a:r>
            <a:r>
              <a:rPr lang="en-US" dirty="0" smtClean="0">
                <a:solidFill>
                  <a:srgbClr val="AFAFAF"/>
                </a:solidFill>
              </a:rPr>
              <a:t>Gross Return </a:t>
            </a:r>
            <a:r>
              <a:rPr lang="en-US" dirty="0" smtClean="0">
                <a:solidFill>
                  <a:srgbClr val="AFAFAF"/>
                </a:solidFill>
              </a:rPr>
              <a:t>index return minus Price index return over 1 year period</a:t>
            </a:r>
            <a:r>
              <a:rPr lang="en-US" dirty="0">
                <a:solidFill>
                  <a:srgbClr val="AFAFAF"/>
                </a:solidFill>
              </a:rPr>
              <a:t> </a:t>
            </a:r>
            <a:r>
              <a:rPr lang="en-US" dirty="0" smtClean="0">
                <a:solidFill>
                  <a:srgbClr val="AFAFAF"/>
                </a:solidFill>
              </a:rPr>
              <a:t>(3) Including negative values. Trailing and projection period are 1 year. (4) Turnover over 1 year period </a:t>
            </a:r>
          </a:p>
          <a:p>
            <a:endParaRPr lang="en-GB" dirty="0"/>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27255720"/>
              </p:ext>
            </p:extLst>
          </p:nvPr>
        </p:nvGraphicFramePr>
        <p:xfrm>
          <a:off x="5156834" y="2225820"/>
          <a:ext cx="4357687" cy="1135131"/>
        </p:xfrm>
        <a:graphic>
          <a:graphicData uri="http://schemas.openxmlformats.org/drawingml/2006/table">
            <a:tbl>
              <a:tblPr>
                <a:tableStyleId>{616DA210-FB5B-4158-B5E0-FEB733F419BA}</a:tableStyleId>
              </a:tblPr>
              <a:tblGrid>
                <a:gridCol w="1967866"/>
                <a:gridCol w="1219200"/>
                <a:gridCol w="117062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9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7.6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83%</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Rectangle 2"/>
          <p:cNvSpPr>
            <a:spLocks noChangeArrowheads="1"/>
          </p:cNvSpPr>
          <p:nvPr/>
        </p:nvSpPr>
        <p:spPr bwMode="auto">
          <a:xfrm>
            <a:off x="51663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graphicFrame>
        <p:nvGraphicFramePr>
          <p:cNvPr id="17" name="Group 62"/>
          <p:cNvGraphicFramePr>
            <a:graphicFrameLocks noGrp="1"/>
          </p:cNvGraphicFramePr>
          <p:nvPr>
            <p:custDataLst>
              <p:tags r:id="rId2"/>
            </p:custDataLst>
            <p:extLst>
              <p:ext uri="{D42A27DB-BD31-4B8C-83A1-F6EECF244321}">
                <p14:modId xmlns:p14="http://schemas.microsoft.com/office/powerpoint/2010/main" val="532843932"/>
              </p:ext>
            </p:extLst>
          </p:nvPr>
        </p:nvGraphicFramePr>
        <p:xfrm>
          <a:off x="5171997" y="3597205"/>
          <a:ext cx="4331954" cy="1477695"/>
        </p:xfrm>
        <a:graphic>
          <a:graphicData uri="http://schemas.openxmlformats.org/drawingml/2006/table">
            <a:tbl>
              <a:tblPr>
                <a:tableStyleId>{616DA210-FB5B-4158-B5E0-FEB733F419BA}</a:tableStyleId>
              </a:tblPr>
              <a:tblGrid>
                <a:gridCol w="3174273"/>
                <a:gridCol w="115768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vs </a:t>
                      </a:r>
                    </a:p>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9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11%</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graphicFrame>
        <p:nvGraphicFramePr>
          <p:cNvPr id="16" name="Group 62"/>
          <p:cNvGraphicFramePr>
            <a:graphicFrameLocks noGrp="1"/>
          </p:cNvGraphicFramePr>
          <p:nvPr>
            <p:custDataLst>
              <p:tags r:id="rId3"/>
            </p:custDataLst>
            <p:extLst>
              <p:ext uri="{D42A27DB-BD31-4B8C-83A1-F6EECF244321}">
                <p14:modId xmlns:p14="http://schemas.microsoft.com/office/powerpoint/2010/main" val="3697532305"/>
              </p:ext>
            </p:extLst>
          </p:nvPr>
        </p:nvGraphicFramePr>
        <p:xfrm>
          <a:off x="365760" y="2225820"/>
          <a:ext cx="4358640" cy="2505387"/>
        </p:xfrm>
        <a:graphic>
          <a:graphicData uri="http://schemas.openxmlformats.org/drawingml/2006/table">
            <a:tbl>
              <a:tblPr>
                <a:tableStyleId>{616DA210-FB5B-4158-B5E0-FEB733F419BA}</a:tableStyleId>
              </a:tblPr>
              <a:tblGrid>
                <a:gridCol w="1863090"/>
                <a:gridCol w="1228725"/>
                <a:gridCol w="1266825"/>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Gross </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dividend </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5.39%</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2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4.1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6.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4.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6.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7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6.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4.0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5" name="Rectangle 6"/>
          <p:cNvSpPr>
            <a:spLocks noChangeArrowheads="1"/>
          </p:cNvSpPr>
          <p:nvPr/>
        </p:nvSpPr>
        <p:spPr bwMode="auto">
          <a:xfrm>
            <a:off x="7213906"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EURO STOXX (EUR Gross Return</a:t>
            </a:r>
            <a:r>
              <a:rPr lang="en-US" sz="1000" dirty="0" smtClean="0"/>
              <a:t>)</a:t>
            </a:r>
            <a:endParaRPr lang="en-US" sz="1000" dirty="0"/>
          </a:p>
        </p:txBody>
      </p:sp>
      <p:sp>
        <p:nvSpPr>
          <p:cNvPr id="18"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EURO STOXX Select </a:t>
            </a:r>
            <a:r>
              <a:rPr lang="en-US" sz="1000" dirty="0" smtClean="0"/>
              <a:t>Dividend 30 (EUR </a:t>
            </a:r>
            <a:r>
              <a:rPr lang="en-US" sz="1000" dirty="0" smtClean="0"/>
              <a:t>Gross </a:t>
            </a:r>
            <a:r>
              <a:rPr lang="en-US" sz="1000" dirty="0" smtClean="0"/>
              <a:t>Return)</a:t>
            </a:r>
            <a:endParaRPr lang="en-US" sz="1000" dirty="0"/>
          </a:p>
        </p:txBody>
      </p:sp>
    </p:spTree>
    <p:extLst>
      <p:ext uri="{BB962C8B-B14F-4D97-AF65-F5344CB8AC3E}">
        <p14:creationId xmlns:p14="http://schemas.microsoft.com/office/powerpoint/2010/main" val="1468242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a:t>
            </a:r>
            <a:r>
              <a:rPr lang="en-US" sz="1000" dirty="0">
                <a:solidFill>
                  <a:srgbClr val="AFAFAF"/>
                </a:solidFill>
              </a:rPr>
              <a:t>Nov. 28, 2014 </a:t>
            </a:r>
            <a:endParaRPr lang="en-US" sz="1000" dirty="0" smtClean="0">
              <a:solidFill>
                <a:srgbClr val="AFAFAF"/>
              </a:solidFill>
            </a:endParaRPr>
          </a:p>
        </p:txBody>
      </p:sp>
      <p:sp>
        <p:nvSpPr>
          <p:cNvPr id="10" name="Title 1"/>
          <p:cNvSpPr>
            <a:spLocks noGrp="1"/>
          </p:cNvSpPr>
          <p:nvPr>
            <p:ph type="title"/>
          </p:nvPr>
        </p:nvSpPr>
        <p:spPr/>
        <p:txBody>
          <a:bodyPr/>
          <a:lstStyle/>
          <a:p>
            <a:r>
              <a:rPr lang="en-US" dirty="0" smtClean="0"/>
              <a:t>Industry and country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3700340408"/>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2383071725"/>
              </p:ext>
            </p:extLst>
          </p:nvPr>
        </p:nvGraphicFramePr>
        <p:xfrm>
          <a:off x="4953794" y="2222778"/>
          <a:ext cx="4526107" cy="38417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1026386306"/>
              </p:ext>
            </p:extLst>
          </p:nvPr>
        </p:nvGraphicFramePr>
        <p:xfrm>
          <a:off x="542611" y="1876839"/>
          <a:ext cx="8784269" cy="3996311"/>
        </p:xfrm>
        <a:graphic>
          <a:graphicData uri="http://schemas.openxmlformats.org/drawingml/2006/table">
            <a:tbl>
              <a:tblPr>
                <a:tableStyleId>{616DA210-FB5B-4158-B5E0-FEB733F419BA}</a:tableStyleId>
              </a:tblPr>
              <a:tblGrid>
                <a:gridCol w="2761067"/>
                <a:gridCol w="2279674"/>
                <a:gridCol w="1735792"/>
                <a:gridCol w="2007736"/>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Indus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err="1" smtClean="0">
                          <a:ln>
                            <a:noFill/>
                          </a:ln>
                          <a:effectLst/>
                          <a:latin typeface="Arial" panose="020B0604020202020204" pitchFamily="34" charset="0"/>
                          <a:cs typeface="Arial" panose="020B0604020202020204" pitchFamily="34" charset="0"/>
                        </a:rPr>
                        <a:t>Belgacom</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Telecommunication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9.14%</a:t>
                      </a:r>
                      <a:endPar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anco Santander</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6.87%</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Orange</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Telecommunication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6.24%</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E.ON</a:t>
                      </a:r>
                      <a:endPar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5.20%</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Fortum</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I</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4.60%</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Snam</a:t>
                      </a: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Rete Ga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4.2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ENI</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Oil &amp; Ga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3.9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EDP </a:t>
                      </a: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Energias</a:t>
                      </a: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de Portugal</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3.79%</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Unibail-Rodamco</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3.68%</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Deutsche Post</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Industr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3.29%</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a:t>
            </a:r>
            <a:r>
              <a:rPr lang="en-US" sz="1000" dirty="0">
                <a:solidFill>
                  <a:srgbClr val="AFAFAF"/>
                </a:solidFill>
              </a:rPr>
              <a:t>Nov. 28, 2014 </a:t>
            </a:r>
            <a:endParaRPr lang="en-US" sz="1000" dirty="0">
              <a:solidFill>
                <a:srgbClr val="D80F5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Head </a:t>
            </a:r>
            <a:r>
              <a:rPr lang="de-CH" sz="1200" dirty="0" err="1" smtClean="0">
                <a:solidFill>
                  <a:prstClr val="black"/>
                </a:solidFill>
                <a:ea typeface="ＭＳ Ｐゴシック" pitchFamily="34" charset="-128"/>
              </a:rPr>
              <a:t>of</a:t>
            </a:r>
            <a:r>
              <a:rPr lang="de-CH" sz="1200" dirty="0" smtClean="0">
                <a:solidFill>
                  <a:prstClr val="black"/>
                </a:solidFill>
                <a:ea typeface="ＭＳ Ｐゴシック" pitchFamily="34" charset="-128"/>
              </a:rPr>
              <a:t> </a:t>
            </a:r>
            <a:r>
              <a:rPr lang="de-CH" sz="1200" dirty="0" err="1" smtClean="0">
                <a:solidFill>
                  <a:prstClr val="black"/>
                </a:solidFill>
                <a:ea typeface="ＭＳ Ｐゴシック" pitchFamily="34" charset="-128"/>
              </a:rPr>
              <a:t>Sales</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D375C923-6BF6-48EE-80B0-0678BAF3CCD7}"/>
</file>

<file path=customXml/itemProps2.xml><?xml version="1.0" encoding="utf-8"?>
<ds:datastoreItem xmlns:ds="http://schemas.openxmlformats.org/officeDocument/2006/customXml" ds:itemID="{8638F933-8E98-463B-8633-0F92DFFFD57E}"/>
</file>

<file path=customXml/itemProps3.xml><?xml version="1.0" encoding="utf-8"?>
<ds:datastoreItem xmlns:ds="http://schemas.openxmlformats.org/officeDocument/2006/customXml" ds:itemID="{C0C8FCE0-EC60-4710-9DF3-ECF9BAD49287}"/>
</file>

<file path=docProps/app.xml><?xml version="1.0" encoding="utf-8"?>
<Properties xmlns="http://schemas.openxmlformats.org/officeDocument/2006/extended-properties" xmlns:vt="http://schemas.openxmlformats.org/officeDocument/2006/docPropsVTypes">
  <Template>STOXXPresentations2.0</Template>
  <TotalTime>0</TotalTime>
  <Words>1342</Words>
  <Application>Microsoft Office PowerPoint</Application>
  <PresentationFormat>A4 Paper (210x297 mm)</PresentationFormat>
  <Paragraphs>223</Paragraphs>
  <Slides>11</Slides>
  <Notes>5</Notes>
  <HiddenSlides>0</HiddenSlides>
  <MMClips>0</MMClips>
  <ScaleCrop>false</ScaleCrop>
  <HeadingPairs>
    <vt:vector size="4" baseType="variant">
      <vt:variant>
        <vt:lpstr>Theme</vt:lpstr>
      </vt:variant>
      <vt:variant>
        <vt:i4>3</vt:i4>
      </vt:variant>
      <vt:variant>
        <vt:lpstr>Slide Titles</vt:lpstr>
      </vt:variant>
      <vt:variant>
        <vt:i4>11</vt:i4>
      </vt:variant>
    </vt:vector>
  </HeadingPairs>
  <TitlesOfParts>
    <vt:vector size="14" baseType="lpstr">
      <vt:lpstr>STOXXEmbeddedTheme</vt:lpstr>
      <vt:lpstr>Template STOXX Presentations 2.0.</vt:lpstr>
      <vt:lpstr>STOXX_ESG_ProductSlides</vt:lpstr>
      <vt:lpstr>EURO STOXX® SELECT DIVIDEND 30 INDEX </vt:lpstr>
      <vt:lpstr>Agenda</vt:lpstr>
      <vt:lpstr>Investment case</vt:lpstr>
      <vt:lpstr>Methodology</vt:lpstr>
      <vt:lpstr>Risk and return overview</vt:lpstr>
      <vt:lpstr>Index fundamental characteristics and key figures</vt:lpstr>
      <vt:lpstr>Industry and country allocation</vt:lpstr>
      <vt:lpstr>Top 10 components by weight</vt:lpstr>
      <vt:lpstr>STOXX sales contacts</vt:lpstr>
      <vt:lpstr>Reference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231</cp:revision>
  <dcterms:created xsi:type="dcterms:W3CDTF">2014-05-26T13:36:56Z</dcterms:created>
  <dcterms:modified xsi:type="dcterms:W3CDTF">2014-12-23T15:3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